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Layouts/slideLayout307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408.xml" ContentType="application/vnd.openxmlformats-officedocument.presentationml.slideLayout+xml"/>
  <Default Extension="xml" ContentType="application/xml"/>
  <Override PartName="/ppt/slides/slide50.xml" ContentType="application/vnd.openxmlformats-officedocument.presentationml.slide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Layouts/slideLayout247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Layouts/slideLayout102.xml" ContentType="application/vnd.openxmlformats-officedocument.presentationml.slideLayout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slideLayouts/slideLayout433.xml" ContentType="application/vnd.openxmlformats-officedocument.presentationml.slideLayout+xml"/>
  <Override PartName="/ppt/slideMasters/slideMaster11.xml" ContentType="application/vnd.openxmlformats-officedocument.presentationml.slideMaster+xml"/>
  <Override PartName="/ppt/slideLayouts/slideLayout272.xml" ContentType="application/vnd.openxmlformats-officedocument.presentationml.slideLayout+xml"/>
  <Override PartName="/ppt/tags/tag109.xml" ContentType="application/vnd.openxmlformats-officedocument.presentationml.tags+xml"/>
  <Override PartName="/ppt/slideLayouts/slideLayout203.xml" ContentType="application/vnd.openxmlformats-officedocument.presentationml.slideLayout+xml"/>
  <Override PartName="/ppt/slideLayouts/slideLayout348.xml" ContentType="application/vnd.openxmlformats-officedocument.presentationml.slideLayout+xml"/>
  <Override PartName="/ppt/notesSlides/notesSlide7.xml" ContentType="application/vnd.openxmlformats-officedocument.presentationml.notesSlide+xml"/>
  <Override PartName="/ppt/slideLayouts/slideLayout187.xml" ContentType="application/vnd.openxmlformats-officedocument.presentationml.slideLayout+xml"/>
  <Override PartName="/ppt/tags/tag134.xml" ContentType="application/vnd.openxmlformats-officedocument.presentationml.tags+xml"/>
  <Override PartName="/ppt/slideLayouts/slideLayout373.xml" ContentType="application/vnd.openxmlformats-officedocument.presentationml.slideLayout+xml"/>
  <Default Extension="png" ContentType="image/png"/>
  <Override PartName="/ppt/slideLayouts/slideLayout118.xml" ContentType="application/vnd.openxmlformats-officedocument.presentationml.slideLayout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tags/tag79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Masters/slideMaster27.xml" ContentType="application/vnd.openxmlformats-officedocument.presentationml.slideMaster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s/slide22.xml" ContentType="application/vnd.openxmlformats-officedocument.presentationml.slide+xml"/>
  <Override PartName="/ppt/slideLayouts/slideLayout219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405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244.xml" ContentType="application/vnd.openxmlformats-officedocument.presentationml.slideLayout+xml"/>
  <Override PartName="/ppt/tags/tag175.xml" ContentType="application/vnd.openxmlformats-officedocument.presentationml.tags+xml"/>
  <Override PartName="/ppt/slideLayouts/slideLayout430.xml" ContentType="application/vnd.openxmlformats-officedocument.presentationml.slideLayout+xml"/>
  <Override PartName="/ppt/tags/tag60.xml" ContentType="application/vnd.openxmlformats-officedocument.presentationml.tags+xml"/>
  <Override PartName="/ppt/slideLayouts/slideLayout159.xml" ContentType="application/vnd.openxmlformats-officedocument.presentationml.slideLayout+xml"/>
  <Override PartName="/ppt/tags/tag106.xml" ContentType="application/vnd.openxmlformats-officedocument.presentationml.tags+xml"/>
  <Override PartName="/ppt/slideLayouts/slideLayout345.xml" ContentType="application/vnd.openxmlformats-officedocument.presentationml.slideLayout+xml"/>
  <Override PartName="/ppt/notesSlides/notesSlide4.xml" ContentType="application/vnd.openxmlformats-officedocument.presentationml.notesSlide+xml"/>
  <Override PartName="/ppt/slides/slide38.xml" ContentType="application/vnd.openxmlformats-officedocument.presentationml.slide+xml"/>
  <Override PartName="/ppt/slideLayouts/slideLayout137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tags/tag98.xml" ContentType="application/vnd.openxmlformats-officedocument.presentationml.tags+xml"/>
  <Override PartName="/ppt/slideLayouts/slideLayout323.xml" ContentType="application/vnd.openxmlformats-officedocument.presentationml.slideLayout+xml"/>
  <Override PartName="/ppt/slideLayouts/slideLayout370.xml" ContentType="application/vnd.openxmlformats-officedocument.presentationml.slideLayout+xml"/>
  <Override PartName="/ppt/tags/tag207.xml" ContentType="application/vnd.openxmlformats-officedocument.presentationml.tags+xml"/>
  <Override PartName="/ppt/notesSlides/notesSlide29.xml" ContentType="application/vnd.openxmlformats-officedocument.presentationml.notes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85.xml" ContentType="application/vnd.openxmlformats-officedocument.presentationml.slideLayout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Masters/slideMaster24.xml" ContentType="application/vnd.openxmlformats-officedocument.presentationml.slideMaster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slideLayouts/slideLayout424.xml" ContentType="application/vnd.openxmlformats-officedocument.presentationml.slideLayout+xml"/>
  <Override PartName="/ppt/tags/tag210.xml" ContentType="application/vnd.openxmlformats-officedocument.presentationml.tags+xml"/>
  <Override PartName="/ppt/notesSlides/notesSlide32.xml" ContentType="application/vnd.openxmlformats-officedocument.presentationml.notesSlide+xml"/>
  <Override PartName="/ppt/slideLayouts/slideLayout216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heme/theme23.xml" ContentType="application/vnd.openxmlformats-officedocument.theme+xml"/>
  <Override PartName="/ppt/slideLayouts/slideLayout402.xml" ContentType="application/vnd.openxmlformats-officedocument.presentationml.slideLayout+xml"/>
  <Override PartName="/ppt/tags/tag32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86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ags/tag125.xml" ContentType="application/vnd.openxmlformats-officedocument.presentationml.tags+xml"/>
  <Override PartName="/ppt/slideLayouts/slideLayout317.xml" ContentType="application/vnd.openxmlformats-officedocument.presentationml.slideLayout+xml"/>
  <Override PartName="/ppt/tags/tag172.xml" ContentType="application/vnd.openxmlformats-officedocument.presentationml.tags+xml"/>
  <Override PartName="/ppt/slideLayouts/slideLayout364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s/slide57.xml" ContentType="application/vnd.openxmlformats-officedocument.presentationml.slide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notesSlides/notesSlide1.xml" ContentType="application/vnd.openxmlformats-officedocument.presentationml.notesSlide+xml"/>
  <Override PartName="/ppt/slideLayouts/slideLayout56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342.xml" ContentType="application/vnd.openxmlformats-officedocument.presentationml.slideLayout+xml"/>
  <Override PartName="/ppt/tags/tag226.xml" ContentType="application/vnd.openxmlformats-officedocument.presentationml.tags+xml"/>
  <Override PartName="/ppt/slideMasters/slideMaster18.xml" ContentType="application/vnd.openxmlformats-officedocument.presentationml.slideMaster+xml"/>
  <Override PartName="/ppt/slides/slide35.xml" ContentType="application/vnd.openxmlformats-officedocument.presentationml.slide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12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notesSlides/notesSlide26.xml" ContentType="application/vnd.openxmlformats-officedocument.presentationml.notes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slideLayouts/slideLayout235.xml" ContentType="application/vnd.openxmlformats-officedocument.presentationml.slideLayout+xml"/>
  <Override PartName="/ppt/tags/tag73.xml" ContentType="application/vnd.openxmlformats-officedocument.presentationml.tags+xml"/>
  <Override PartName="/ppt/theme/theme17.xml" ContentType="application/vnd.openxmlformats-officedocument.theme+xml"/>
  <Override PartName="/ppt/slideLayouts/slideLayout443.xml" ContentType="application/vnd.openxmlformats-officedocument.presentationml.slideLayout+xml"/>
  <Override PartName="/ppt/slideMasters/slideMaster21.xml" ContentType="application/vnd.openxmlformats-officedocument.presentationml.slideMaster+xml"/>
  <Override PartName="/ppt/slideLayouts/slideLayout282.xml" ContentType="application/vnd.openxmlformats-officedocument.presentationml.slideLayout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slideLayouts/slideLayout421.xml" ContentType="application/vnd.openxmlformats-officedocument.presentationml.slideLayout+xml"/>
  <Override PartName="/ppt/theme/theme9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ags/tag51.xml" ContentType="application/vnd.openxmlformats-officedocument.presentationml.tags+xml"/>
  <Override PartName="/ppt/slideLayouts/slideLayout358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ags/tag144.xml" ContentType="application/vnd.openxmlformats-officedocument.presentationml.tags+xml"/>
  <Override PartName="/ppt/slideLayouts/slideLayout336.xml" ContentType="application/vnd.openxmlformats-officedocument.presentationml.slideLayout+xml"/>
  <Override PartName="/ppt/theme/theme20.xml" ContentType="application/vnd.openxmlformats-officedocument.theme+xml"/>
  <Override PartName="/ppt/tags/tag191.xml" ContentType="application/vnd.openxmlformats-officedocument.presentationml.tags+xml"/>
  <Override PartName="/ppt/slideLayouts/slideLayout383.xml" ContentType="application/vnd.openxmlformats-officedocument.presentationml.slideLayout+xml"/>
  <Override PartName="/ppt/slides/slide29.xml" ContentType="application/vnd.openxmlformats-officedocument.presentationml.slide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ags/tag122.xml" ContentType="application/vnd.openxmlformats-officedocument.presentationml.tags+xml"/>
  <Override PartName="/ppt/slideLayouts/slideLayout459.xml" ContentType="application/vnd.openxmlformats-officedocument.presentationml.slideLayout+xml"/>
  <Override PartName="/ppt/slides/slide4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89.xml" ContentType="application/vnd.openxmlformats-officedocument.presentationml.tags+xml"/>
  <Override PartName="/ppt/slideLayouts/slideLayout298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ags/tag100.xml" ContentType="application/vnd.openxmlformats-officedocument.presentationml.tags+xml"/>
  <Override PartName="/ppt/slideLayouts/slideLayout437.xml" ContentType="application/vnd.openxmlformats-officedocument.presentationml.slideLayout+xml"/>
  <Override PartName="/ppt/slides/slide32.xml" ContentType="application/vnd.openxmlformats-officedocument.presentationml.slide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ags/tag67.xml" ContentType="application/vnd.openxmlformats-officedocument.presentationml.tags+xml"/>
  <Override PartName="/ppt/slideLayouts/slideLayout415.xml" ContentType="application/vnd.openxmlformats-officedocument.presentationml.slideLayout+xml"/>
  <Override PartName="/ppt/slideLayouts/slideLayout462.xml" ContentType="application/vnd.openxmlformats-officedocument.presentationml.slideLayout+xml"/>
  <Override PartName="/ppt/tags/tag223.xml" ContentType="application/vnd.openxmlformats-officedocument.presentationml.tags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slideLayouts/slideLayout207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ags/tag92.xml" ContentType="application/vnd.openxmlformats-officedocument.presentationml.tags+xml"/>
  <Override PartName="/ppt/tags/tag201.xml" ContentType="application/vnd.openxmlformats-officedocument.presentationml.tags+xml"/>
  <Override PartName="/ppt/slideLayouts/slideLayout399.xml" ContentType="application/vnd.openxmlformats-officedocument.presentationml.slideLayout+xml"/>
  <Override PartName="/ppt/notesSlides/notesSlide23.xml" ContentType="application/vnd.openxmlformats-officedocument.presentationml.notesSlide+xml"/>
  <Override PartName="/ppt/tags/tag138.xml" ContentType="application/vnd.openxmlformats-officedocument.presentationml.tags+xml"/>
  <Override PartName="/ppt/theme/theme14.xml" ContentType="application/vnd.openxmlformats-officedocument.theme+xml"/>
  <Override PartName="/ppt/tags/tag185.xml" ContentType="application/vnd.openxmlformats-officedocument.presentationml.tags+xml"/>
  <Override PartName="/ppt/slideLayouts/slideLayout440.xml" ContentType="application/vnd.openxmlformats-officedocument.presentationml.slideLayout+xml"/>
  <Override PartName="/ppt/tags/tag23.xml" ContentType="application/vnd.openxmlformats-officedocument.presentationml.tags+xml"/>
  <Override PartName="/ppt/slideLayouts/slideLayout232.xml" ContentType="application/vnd.openxmlformats-officedocument.presentationml.slideLayout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slideLayouts/slideLayout377.xml" ContentType="application/vnd.openxmlformats-officedocument.presentationml.slideLayout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s/slide48.xml" ContentType="application/vnd.openxmlformats-officedocument.presentationml.slide+xml"/>
  <Default Extension="bin" ContentType="application/vnd.openxmlformats-officedocument.oleObject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ags/tag141.xml" ContentType="application/vnd.openxmlformats-officedocument.presentationml.tags+xml"/>
  <Override PartName="/ppt/slides/slide26.xml" ContentType="application/vnd.openxmlformats-officedocument.presentationml.slide+xml"/>
  <Override PartName="/ppt/slideLayouts/slideLayout47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tags/tag39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86.xml" ContentType="application/vnd.openxmlformats-officedocument.presentationml.tags+xml"/>
  <Override PartName="/ppt/slideLayouts/slideLayout311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56.xml" ContentType="application/vnd.openxmlformats-officedocument.presentationml.slideLayout+xml"/>
  <Override PartName="/ppt/notesSlides/notesSlide17.xml" ContentType="application/vnd.openxmlformats-officedocument.presentationml.notesSlide+xml"/>
  <Override PartName="/ppt/slides/slide51.xml" ContentType="application/vnd.openxmlformats-officedocument.presentationml.slide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ags/tag179.xml" ContentType="application/vnd.openxmlformats-officedocument.presentationml.tags+xml"/>
  <Override PartName="/ppt/slideLayouts/slideLayout434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slideLayouts/slideLayout226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ags/tag64.xml" ContentType="application/vnd.openxmlformats-officedocument.presentationml.tags+xml"/>
  <Override PartName="/ppt/tags/tag220.xml" ContentType="application/vnd.openxmlformats-officedocument.presentationml.tags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tags/tag157.xml" ContentType="application/vnd.openxmlformats-officedocument.presentationml.tags+xml"/>
  <Override PartName="/ppt/slideLayouts/slideLayout349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412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42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ags/tag135.xml" ContentType="application/vnd.openxmlformats-officedocument.presentationml.tags+xml"/>
  <Override PartName="/ppt/tags/tag182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slideLayouts/slideLayout327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s/slide45.xml" ContentType="application/vnd.openxmlformats-officedocument.presentationml.slide+xml"/>
  <Override PartName="/ppt/theme/theme3.xml" ContentType="application/vnd.openxmlformats-officedocument.theme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Masters/slideMaster28.xml" ContentType="application/vnd.openxmlformats-officedocument.presentationml.slideMaster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ags/tag58.xml" ContentType="application/vnd.openxmlformats-officedocument.presentationml.tags+xml"/>
  <Override PartName="/ppt/slideLayouts/slideLayout330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67.xml" ContentType="application/vnd.openxmlformats-officedocument.presentationml.slideLayout+xml"/>
  <Override PartName="/ppt/tags/tag198.xml" ContentType="application/vnd.openxmlformats-officedocument.presentationml.tags+xml"/>
  <Override PartName="/ppt/slideLayouts/slideLayout406.xml" ContentType="application/vnd.openxmlformats-officedocument.presentationml.slideLayout+xml"/>
  <Override PartName="/ppt/slideLayouts/slideLayout453.xml" ContentType="application/vnd.openxmlformats-officedocument.presentationml.slideLayout+xml"/>
  <Override PartName="/ppt/tags/tag214.xml" ContentType="application/vnd.openxmlformats-officedocument.presentationml.tags+xml"/>
  <Override PartName="/ppt/tags/tag36.xml" ContentType="application/vnd.openxmlformats-officedocument.presentationml.tags+xml"/>
  <Override PartName="/ppt/slideLayouts/slideLayout245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ags/tag83.xml" ContentType="application/vnd.openxmlformats-officedocument.presentationml.tags+xml"/>
  <Override PartName="/ppt/theme/theme27.xml" ContentType="application/vnd.openxmlformats-officedocument.theme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61.xml" ContentType="application/vnd.openxmlformats-officedocument.presentationml.tags+xml"/>
  <Override PartName="/ppt/tags/tag129.xml" ContentType="application/vnd.openxmlformats-officedocument.presentationml.tags+xml"/>
  <Override PartName="/ppt/tags/tag176.xml" ContentType="application/vnd.openxmlformats-officedocument.presentationml.tags+xml"/>
  <Override PartName="/ppt/slideLayouts/slideLayout368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Layouts/slideLayout223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93.xml" ContentType="application/vnd.openxmlformats-officedocument.presentationml.slideLayout+xml"/>
  <Override PartName="/ppt/theme/theme30.xml" ContentType="application/vnd.openxmlformats-officedocument.theme+xml"/>
  <Override PartName="/ppt/notesSlides/notesSlide5.xml" ContentType="application/vnd.openxmlformats-officedocument.presentationml.notesSlide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324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s/slide17.xml" ContentType="application/vnd.openxmlformats-officedocument.presentationml.slide+xml"/>
  <Override PartName="/ppt/slideLayouts/slideLayout116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208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77.xml" ContentType="application/vnd.openxmlformats-officedocument.presentationml.tags+xml"/>
  <Override PartName="/ppt/slideLayouts/slideLayout302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ags/tag233.xml" ContentType="application/vnd.openxmlformats-officedocument.presentationml.tags+xml"/>
  <Override PartName="/ppt/slideMasters/slideMaster25.xml" ContentType="application/vnd.openxmlformats-officedocument.presentationml.slideMaster+xml"/>
  <Override PartName="/ppt/slides/slide42.xml" ContentType="application/vnd.openxmlformats-officedocument.presentationml.slide+xml"/>
  <Override PartName="/ppt/slideLayouts/slideLayout41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s/slide20.xml" ContentType="application/vnd.openxmlformats-officedocument.presentationml.slide+xml"/>
  <Override PartName="/ppt/slideLayouts/slideLayout217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notesSlides/notesSlide33.xml" ContentType="application/vnd.openxmlformats-officedocument.presentationml.notesSlide+xml"/>
  <Override PartName="/ppt/tags/tag33.xml" ContentType="application/vnd.openxmlformats-officedocument.presentationml.tags+xml"/>
  <Override PartName="/ppt/tags/tag80.xml" ContentType="application/vnd.openxmlformats-officedocument.presentationml.tags+xml"/>
  <Override PartName="/ppt/tags/tag148.xml" ContentType="application/vnd.openxmlformats-officedocument.presentationml.tags+xml"/>
  <Override PartName="/ppt/tags/tag195.xml" ContentType="application/vnd.openxmlformats-officedocument.presentationml.tags+xml"/>
  <Override PartName="/ppt/theme/theme24.xml" ContentType="application/vnd.openxmlformats-officedocument.theme+xml"/>
  <Override PartName="/ppt/slideLayouts/slideLayout387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50.xml" ContentType="application/vnd.openxmlformats-officedocument.presentationml.slideLayout+xml"/>
  <Override PartName="/ppt/notesSlides/notesSlide11.xml" ContentType="application/vnd.openxmlformats-officedocument.presentationml.notesSlide+xml"/>
  <Override PartName="/ppt/slideLayouts/slideLayout179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s/slide58.xml" ContentType="application/vnd.openxmlformats-officedocument.presentationml.slide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slideLayouts/slideLayout343.xml" ContentType="application/vnd.openxmlformats-officedocument.presentationml.slideLayout+xml"/>
  <Override PartName="/ppt/slideLayouts/slideLayout390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135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ags/tag227.xml" ContentType="application/vnd.openxmlformats-officedocument.presentationml.tags+xml"/>
  <Override PartName="/ppt/slideMasters/slideMaster19.xml" ContentType="application/vnd.openxmlformats-officedocument.presentationml.slideMaster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321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ags/tag205.xml" ContentType="application/vnd.openxmlformats-officedocument.presentationml.tags+xml"/>
  <Override PartName="/ppt/notesSlides/notesSlide27.xml" ContentType="application/vnd.openxmlformats-officedocument.presentationml.notes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tags/tag189.xml" ContentType="application/vnd.openxmlformats-officedocument.presentationml.tags+xml"/>
  <Override PartName="/ppt/slideLayouts/slideLayout444.xml" ContentType="application/vnd.openxmlformats-officedocument.presentationml.slideLayout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slideLayouts/slideLayout236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slideMasters/slideMaster22.xml" ContentType="application/vnd.openxmlformats-officedocument.presentationml.slideMaster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slideLayouts/slideLayout359.xml" ContentType="application/vnd.openxmlformats-officedocument.presentationml.slideLayout+xml"/>
  <Override PartName="/ppt/slideLayouts/slideLayout422.xml" ContentType="application/vnd.openxmlformats-officedocument.presentationml.slideLayout+xml"/>
  <Override PartName="/ppt/notesSlides/notesSlide30.xml" ContentType="application/vnd.openxmlformats-officedocument.presentationml.notesSlide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ags/tag145.xml" ContentType="application/vnd.openxmlformats-officedocument.presentationml.tags+xml"/>
  <Override PartName="/ppt/theme/theme21.xml" ContentType="application/vnd.openxmlformats-officedocument.theme+xml"/>
  <Override PartName="/ppt/tags/tag192.xml" ContentType="application/vnd.openxmlformats-officedocument.presentationml.tags+xml"/>
  <Override PartName="/ppt/slideLayouts/slideLayout400.xml" ContentType="application/vnd.openxmlformats-officedocument.presentationml.slideLayout+xml"/>
  <Override PartName="/ppt/tags/tag30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ags/tag123.xml" ContentType="application/vnd.openxmlformats-officedocument.presentationml.tags+xml"/>
  <Override PartName="/ppt/slideLayouts/slideLayout315.xml" ContentType="application/vnd.openxmlformats-officedocument.presentationml.slideLayout+xml"/>
  <Override PartName="/ppt/tags/tag170.xml" ContentType="application/vnd.openxmlformats-officedocument.presentationml.tags+xml"/>
  <Override PartName="/ppt/slideLayouts/slideLayout362.xml" ContentType="application/vnd.openxmlformats-officedocument.presentationml.slideLayout+xml"/>
  <Override PartName="/ppt/slides/slide55.xml" ContentType="application/vnd.openxmlformats-officedocument.presentationml.slide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ags/tag101.xml" ContentType="application/vnd.openxmlformats-officedocument.presentationml.tags+xml"/>
  <Override PartName="/ppt/slideLayouts/slideLayout299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s/slide33.xml" ContentType="application/vnd.openxmlformats-officedocument.presentationml.slide+xml"/>
  <Override PartName="/ppt/slideLayouts/slideLayout54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ags/tag68.xml" ContentType="application/vnd.openxmlformats-officedocument.presentationml.tags+xml"/>
  <Override PartName="/ppt/slideLayouts/slideLayout340.xml" ContentType="application/vnd.openxmlformats-officedocument.presentationml.slideLayout+xml"/>
  <Override PartName="/ppt/tags/tag224.xml" ContentType="application/vnd.openxmlformats-officedocument.presentationml.tags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63.xml" ContentType="application/vnd.openxmlformats-officedocument.presentationml.slideLayout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10.xml" ContentType="application/vnd.openxmlformats-officedocument.presentationml.slideLayout+xml"/>
  <Override PartName="/ppt/tags/tag46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55.xml" ContentType="application/vnd.openxmlformats-officedocument.presentationml.slideLayout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slideLayouts/slideLayout441.xml" ContentType="application/vnd.openxmlformats-officedocument.presentationml.slideLayout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ags/tag71.xml" ContentType="application/vnd.openxmlformats-officedocument.presentationml.tags+xml"/>
  <Override PartName="/ppt/theme/theme15.xml" ContentType="application/vnd.openxmlformats-officedocument.theme+xml"/>
  <Override PartName="/ppt/slideLayouts/slideLayout378.xml" ContentType="application/vnd.openxmlformats-officedocument.presentationml.slideLayout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slides/slide49.xml" ContentType="application/vnd.openxmlformats-officedocument.presentationml.slide+xml"/>
  <Override PartName="/ppt/theme/theme7.xml" ContentType="application/vnd.openxmlformats-officedocument.theme+xml"/>
  <Override PartName="/ppt/slideLayouts/slideLayout211.xml" ContentType="application/vnd.openxmlformats-officedocument.presentationml.slideLayout+xml"/>
  <Override PartName="/ppt/tags/tag142.xml" ContentType="application/vnd.openxmlformats-officedocument.presentationml.tags+xml"/>
  <Override PartName="/ppt/slideLayouts/slideLayout309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ags/tag120.xml" ContentType="application/vnd.openxmlformats-officedocument.presentationml.tags+xml"/>
  <Override PartName="/ppt/slideLayouts/slideLayout457.xml" ContentType="application/vnd.openxmlformats-officedocument.presentationml.slideLayout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slides/slide52.xml" ContentType="application/vnd.openxmlformats-officedocument.presentationml.slide+xml"/>
  <Override PartName="/ppt/slideLayouts/slideLayout26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ags/tag87.xml" ContentType="application/vnd.openxmlformats-officedocument.presentationml.tags+xml"/>
  <Override PartName="/ppt/slideLayouts/slideLayout296.xml" ContentType="application/vnd.openxmlformats-officedocument.presentationml.slideLayout+xml"/>
  <Override PartName="/ppt/slideLayouts/slideLayout312.xml" ContentType="application/vnd.openxmlformats-officedocument.presentationml.slideLayout+xml"/>
  <Override PartName="/ppt/notesSlides/notesSlide18.xml" ContentType="application/vnd.openxmlformats-officedocument.presentationml.notesSlide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slideLayouts/slideLayout413.xml" ContentType="application/vnd.openxmlformats-officedocument.presentationml.slideLayout+xml"/>
  <Override PartName="/ppt/slideLayouts/slideLayout460.xml" ContentType="application/vnd.openxmlformats-officedocument.presentationml.slideLayout+xml"/>
  <Override PartName="/ppt/tags/tag221.xml" ContentType="application/vnd.openxmlformats-officedocument.presentationml.tags+xml"/>
  <Override PartName="/ppt/slideMasters/slideMaster13.xml" ContentType="application/vnd.openxmlformats-officedocument.presentationml.slideMaster+xml"/>
  <Override PartName="/ppt/tags/tag43.xml" ContentType="application/vnd.openxmlformats-officedocument.presentationml.tags+xml"/>
  <Override PartName="/ppt/slideLayouts/slideLayout205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ags/tag90.xml" ContentType="application/vnd.openxmlformats-officedocument.presentationml.tags+xml"/>
  <Override PartName="/ppt/slideLayouts/slideLayout397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slideLayouts/slideLayout89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2.xml" ContentType="application/vnd.openxmlformats-officedocument.theme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21.xml" ContentType="application/vnd.openxmlformats-officedocument.presentationml.tags+xml"/>
  <Override PartName="/ppt/slideLayouts/slideLayout230.xml" ContentType="application/vnd.openxmlformats-officedocument.presentationml.slideLayout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slideLayouts/slideLayout328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s/slide46.xml" ContentType="application/vnd.openxmlformats-officedocument.presentationml.slide+xml"/>
  <Override PartName="/ppt/slideLayouts/slideLayout45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s/slide24.xml" ContentType="application/vnd.openxmlformats-officedocument.presentationml.slide+xml"/>
  <Override PartName="/ppt/slideLayouts/slideLayout92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ags/tag59.xml" ContentType="application/vnd.openxmlformats-officedocument.presentationml.tags+xml"/>
  <Override PartName="/ppt/slideLayouts/slideLayout331.xml" ContentType="application/vnd.openxmlformats-officedocument.presentationml.slideLayout+xml"/>
  <Override PartName="/ppt/tags/tag215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37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slideLayouts/slideLayout407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heme/theme28.xml" ContentType="application/vnd.openxmlformats-officedocument.theme+xml"/>
  <Override PartName="/ppt/notesSlides/notesSlide15.xml" ContentType="application/vnd.openxmlformats-officedocument.presentationml.notesSlide+xml"/>
  <Override PartName="/ppt/slideLayouts/slideLayout101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ags/tag177.xml" ContentType="application/vnd.openxmlformats-officedocument.presentationml.tags+xml"/>
  <Override PartName="/ppt/slideLayouts/slideLayout432.xml" ContentType="application/vnd.openxmlformats-officedocument.presentationml.slideLayout+xml"/>
  <Override PartName="/ppt/tags/tag1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ags/tag62.xml" ContentType="application/vnd.openxmlformats-officedocument.presentationml.tags+xml"/>
  <Override PartName="/ppt/slideLayouts/slideLayout369.xml" ContentType="application/vnd.openxmlformats-officedocument.presentationml.slideLayout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slideLayouts/slideLayout347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410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139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ags/tag209.xml" ContentType="application/vnd.openxmlformats-officedocument.presentationml.tags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303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slideMasters/slideMaster26.xml" ContentType="application/vnd.openxmlformats-officedocument.presentationml.slideMaster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slideLayouts/slideLayout426.xml" ContentType="application/vnd.openxmlformats-officedocument.presentationml.slideLayout+xml"/>
  <Override PartName="/ppt/notesSlides/notesSlide34.xml" ContentType="application/vnd.openxmlformats-officedocument.presentationml.notes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slideLayouts/slideLayout404.xml" ContentType="application/vnd.openxmlformats-officedocument.presentationml.slideLayout+xml"/>
  <Override PartName="/ppt/slideLayouts/slideLayout451.xml" ContentType="application/vnd.openxmlformats-officedocument.presentationml.slideLayout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slideLayouts/slideLayout243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ags/tag81.xml" ContentType="application/vnd.openxmlformats-officedocument.presentationml.tags+xml"/>
  <Override PartName="/ppt/slideLayouts/slideLayout388.xml" ContentType="application/vnd.openxmlformats-officedocument.presentationml.slideLayout+xml"/>
  <Override PartName="/ppt/theme/theme25.xml" ContentType="application/vnd.openxmlformats-officedocument.them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slideLayouts/slideLayout319.xml" ContentType="application/vnd.openxmlformats-officedocument.presentationml.slideLayout+xml"/>
  <Override PartName="/ppt/tags/tag174.xml" ContentType="application/vnd.openxmlformats-officedocument.presentationml.tags+xml"/>
  <Override PartName="/ppt/slideLayouts/slideLayout366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158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91.xml" ContentType="application/vnd.openxmlformats-officedocument.presentationml.slideLayout+xml"/>
  <Override PartName="/ppt/notesSlides/notesSlide3.xml" ContentType="application/vnd.openxmlformats-officedocument.presentationml.notesSlide+xml"/>
  <Override PartName="/ppt/tags/tag228.xml" ContentType="application/vnd.openxmlformats-officedocument.presentationml.tags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322.xml" ContentType="application/vnd.openxmlformats-officedocument.presentationml.slideLayout+xml"/>
  <Override PartName="/ppt/slides/slide15.xml" ContentType="application/vnd.openxmlformats-officedocument.presentationml.slide+xml"/>
  <Override PartName="/ppt/slideLayouts/slideLayout114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notesSlides/notesSlide28.xml" ContentType="application/vnd.openxmlformats-officedocument.presentationml.notes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300.xml" ContentType="application/vnd.openxmlformats-officedocument.presentationml.slideLayout+xml"/>
  <Override PartName="/ppt/theme/theme19.xml" ContentType="application/vnd.openxmlformats-officedocument.theme+xml"/>
  <Override PartName="/ppt/slideLayouts/slideLayout445.xml" ContentType="application/vnd.openxmlformats-officedocument.presentationml.slideLayout+xml"/>
  <Override PartName="/ppt/tags/tag231.xml" ContentType="application/vnd.openxmlformats-officedocument.presentationml.tags+xml"/>
  <Override PartName="/ppt/slideMasters/slideMaster23.xml" ContentType="application/vnd.openxmlformats-officedocument.presentationml.slideMaster+xml"/>
  <Override PartName="/ppt/slides/slide40.xml" ContentType="application/vnd.openxmlformats-officedocument.presentationml.slide+xml"/>
  <Override PartName="/ppt/slideLayouts/slideLayout237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ags/tag168.xml" ContentType="application/vnd.openxmlformats-officedocument.presentationml.tags+xml"/>
  <Override PartName="/ppt/slideLayouts/slideLayout423.xml" ContentType="application/vnd.openxmlformats-officedocument.presentationml.slideLayout+xml"/>
  <Default Extension="vml" ContentType="application/vnd.openxmlformats-officedocument.vmlDrawing"/>
  <Override PartName="/ppt/slideLayouts/slideLayout215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ags/tag53.xml" ContentType="application/vnd.openxmlformats-officedocument.presentationml.tags+xml"/>
  <Override PartName="/ppt/notesSlides/notesSlide31.xml" ContentType="application/vnd.openxmlformats-officedocument.presentationml.notesSlide+xml"/>
  <Override PartName="/ppt/tags/tag31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ags/tag146.xml" ContentType="application/vnd.openxmlformats-officedocument.presentationml.tags+xml"/>
  <Override PartName="/ppt/slideLayouts/slideLayout338.xml" ContentType="application/vnd.openxmlformats-officedocument.presentationml.slideLayout+xml"/>
  <Override PartName="/ppt/tags/tag193.xml" ContentType="application/vnd.openxmlformats-officedocument.presentationml.tags+xml"/>
  <Override PartName="/ppt/theme/theme22.xml" ContentType="application/vnd.openxmlformats-officedocument.theme+xml"/>
  <Override PartName="/ppt/slideLayouts/slideLayout385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ags/tag102.xml" ContentType="application/vnd.openxmlformats-officedocument.presentationml.tags+xml"/>
  <Override PartName="/ppt/slideLayouts/slideLayout341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s/slide34.xml" ContentType="application/vnd.openxmlformats-officedocument.presentationml.slide+xml"/>
  <Override PartName="/ppt/slideLayouts/slideLayout133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278.xml" ContentType="application/vnd.openxmlformats-officedocument.presentationml.slideLayout+xml"/>
  <Override PartName="/ppt/tags/tag69.xml" ContentType="application/vnd.openxmlformats-officedocument.presentationml.tags+xml"/>
  <Override PartName="/ppt/slideLayouts/slideLayout417.xml" ContentType="application/vnd.openxmlformats-officedocument.presentationml.slideLayout+xml"/>
  <Override PartName="/ppt/slideLayouts/slideLayout464.xml" ContentType="application/vnd.openxmlformats-officedocument.presentationml.slideLayout+xml"/>
  <Override PartName="/ppt/tags/tag225.xml" ContentType="application/vnd.openxmlformats-officedocument.presentationml.tags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tags/tag47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ags/tag94.xml" ContentType="application/vnd.openxmlformats-officedocument.presentationml.tags+xml"/>
  <Override PartName="/ppt/tags/tag203.xml" ContentType="application/vnd.openxmlformats-officedocument.presentationml.tags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tags/tag187.xml" ContentType="application/vnd.openxmlformats-officedocument.presentationml.tags+xml"/>
  <Override PartName="/ppt/slideLayouts/slideLayout442.xml" ContentType="application/vnd.openxmlformats-officedocument.presentationml.slideLayout+xml"/>
  <Override PartName="/ppt/tags/tag25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65.xml" ContentType="application/vnd.openxmlformats-officedocument.presentationml.tags+xml"/>
  <Override PartName="/ppt/slideLayouts/slideLayout379.xml" ContentType="application/vnd.openxmlformats-officedocument.presentationml.slideLayout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tags/tag50.xml" ContentType="application/vnd.openxmlformats-officedocument.presentationml.tags+xml"/>
  <Override PartName="/ppt/slideLayouts/slideLayout357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s/slide28.xml" ContentType="application/vnd.openxmlformats-officedocument.presentationml.slide+xml"/>
  <Override PartName="/ppt/slideLayouts/slideLayout49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82.xml" ContentType="application/vnd.openxmlformats-officedocument.presentationml.slideLayout+xml"/>
  <Override PartName="/ppt/tags/tag219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ags/tag121.xml" ContentType="application/vnd.openxmlformats-officedocument.presentationml.tags+xml"/>
  <Override PartName="/ppt/slideLayouts/slideLayout313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458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s/slide53.xml" ContentType="application/vnd.openxmlformats-officedocument.presentationml.slide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ags/tag88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436.xml" ContentType="application/vnd.openxmlformats-officedocument.presentationml.slideLayout+xml"/>
  <Default Extension="jpeg" ContentType="image/jpeg"/>
  <Override PartName="/ppt/slides/slide31.xml" ContentType="application/vnd.openxmlformats-officedocument.presentationml.slide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slideMasters/slideMaster14.xml" ContentType="application/vnd.openxmlformats-officedocument.presentationml.slideMaster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ags/tag159.xml" ContentType="application/vnd.openxmlformats-officedocument.presentationml.tags+xml"/>
  <Override PartName="/ppt/slideLayouts/slideLayout414.xml" ContentType="application/vnd.openxmlformats-officedocument.presentationml.slideLayout+xml"/>
  <Override PartName="/ppt/slideLayouts/slideLayout461.xml" ContentType="application/vnd.openxmlformats-officedocument.presentationml.slideLayout+xml"/>
  <Override PartName="/ppt/notesSlides/notesSlide22.xml" ContentType="application/vnd.openxmlformats-officedocument.presentationml.notesSlide+xml"/>
  <Override PartName="/ppt/tags/tag44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slideLayouts/slideLayout398.xml" ContentType="application/vnd.openxmlformats-officedocument.presentationml.slideLayout+xml"/>
  <Override PartName="/ppt/tags/tag22.xml" ContentType="application/vnd.openxmlformats-officedocument.presentationml.tags+xml"/>
  <Override PartName="/ppt/slideLayouts/slideLayout231.xml" ContentType="application/vnd.openxmlformats-officedocument.presentationml.slideLayout+xml"/>
  <Override PartName="/ppt/theme/theme13.xml" ContentType="application/vnd.openxmlformats-officedocument.theme+xml"/>
  <Override PartName="/ppt/slideLayouts/slideLayout329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slides/slide47.xml" ContentType="application/vnd.openxmlformats-officedocument.presentationml.slide+xml"/>
  <Override PartName="/ppt/theme/theme5.xml" ContentType="application/vnd.openxmlformats-officedocument.theme+xml"/>
  <Override PartName="/ppt/tags/tag140.xml" ContentType="application/vnd.openxmlformats-officedocument.presentationml.tags+xml"/>
  <Override PartName="/ppt/slideLayouts/slideLayout354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ags/tag216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294.xml" ContentType="application/vnd.openxmlformats-officedocument.presentationml.slideLayout+xml"/>
  <Override PartName="/ppt/tags/tag85.xml" ContentType="application/vnd.openxmlformats-officedocument.presentationml.tags+xml"/>
  <Override PartName="/ppt/slideLayouts/slideLayout310.xml" ContentType="application/vnd.openxmlformats-officedocument.presentationml.slideLayout+xml"/>
  <Override PartName="/ppt/theme/theme29.xml" ContentType="application/vnd.openxmlformats-officedocument.theme+xml"/>
  <Override PartName="/ppt/tags/tag16.xml" ContentType="application/vnd.openxmlformats-officedocument.presentationml.tags+xml"/>
  <Override PartName="/ppt/slideMasters/slideMaster8.xml" ContentType="application/vnd.openxmlformats-officedocument.presentationml.slideMaster+xml"/>
  <Override PartName="/ppt/slideLayouts/slideLayout225.xml" ContentType="application/vnd.openxmlformats-officedocument.presentationml.slideLayout+xml"/>
  <Override PartName="/ppt/tags/tag156.xml" ContentType="application/vnd.openxmlformats-officedocument.presentationml.tags+xml"/>
  <Override PartName="/ppt/slideLayouts/slideLayout411.xml" ContentType="application/vnd.openxmlformats-officedocument.presentationml.slideLayout+xml"/>
  <Override PartName="/ppt/tags/tag41.xml" ContentType="application/vnd.openxmlformats-officedocument.presentationml.tags+xml"/>
  <Override PartName="/ppt/slideLayouts/slideLayout250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0.xml" ContentType="application/vnd.openxmlformats-officedocument.theme+xml"/>
  <Override PartName="/ppt/slideLayouts/slideLayout326.xml" ContentType="application/vnd.openxmlformats-officedocument.presentationml.slideLayout+xml"/>
  <Override PartName="/ppt/tags/tag181.xml" ContentType="application/vnd.openxmlformats-officedocument.presentationml.tags+xml"/>
  <Override PartName="/ppt/slides/slide19.xml" ContentType="application/vnd.openxmlformats-officedocument.presentationml.slide+xml"/>
  <Override PartName="/ppt/slideLayouts/slideLayout165.xml" ContentType="application/vnd.openxmlformats-officedocument.presentationml.slideLayout+xml"/>
  <Override PartName="/ppt/tags/tag112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51.xml" ContentType="application/vnd.openxmlformats-officedocument.presentationml.slideLayout+xml"/>
  <Override PartName="/ppt/slides/slide44.xml" ContentType="application/vnd.openxmlformats-officedocument.presentationml.slide+xml"/>
  <Default Extension="emf" ContentType="image/x-emf"/>
  <Override PartName="/ppt/slideLayouts/slideLayout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heme/theme26.xml" ContentType="application/vnd.openxmlformats-officedocument.theme+xml"/>
  <Override PartName="/ppt/slideLayouts/slideLayout452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slideLayouts/slideLayout222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53.xml" ContentType="application/vnd.openxmlformats-officedocument.presentationml.tags+xml"/>
  <Override PartName="/ppt/slideLayouts/slideLayout39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5" r:id="rId2"/>
    <p:sldMasterId id="2147483739" r:id="rId3"/>
    <p:sldMasterId id="2147483748" r:id="rId4"/>
    <p:sldMasterId id="2147483757" r:id="rId5"/>
    <p:sldMasterId id="2147483766" r:id="rId6"/>
    <p:sldMasterId id="2147483775" r:id="rId7"/>
    <p:sldMasterId id="2147483784" r:id="rId8"/>
    <p:sldMasterId id="2147483793" r:id="rId9"/>
    <p:sldMasterId id="2147483802" r:id="rId10"/>
    <p:sldMasterId id="2147483811" r:id="rId11"/>
    <p:sldMasterId id="2147483836" r:id="rId12"/>
    <p:sldMasterId id="2147484397" r:id="rId13"/>
    <p:sldMasterId id="2147484406" r:id="rId14"/>
    <p:sldMasterId id="2147484415" r:id="rId15"/>
    <p:sldMasterId id="2147484424" r:id="rId16"/>
    <p:sldMasterId id="2147484433" r:id="rId17"/>
    <p:sldMasterId id="2147484442" r:id="rId18"/>
    <p:sldMasterId id="2147484451" r:id="rId19"/>
    <p:sldMasterId id="2147484460" r:id="rId20"/>
    <p:sldMasterId id="2147484469" r:id="rId21"/>
    <p:sldMasterId id="2147484478" r:id="rId22"/>
    <p:sldMasterId id="2147484886" r:id="rId23"/>
    <p:sldMasterId id="2147484890" r:id="rId24"/>
    <p:sldMasterId id="2147484894" r:id="rId25"/>
    <p:sldMasterId id="2147484956" r:id="rId26"/>
    <p:sldMasterId id="2147484981" r:id="rId27"/>
    <p:sldMasterId id="2147485007" r:id="rId28"/>
  </p:sldMasterIdLst>
  <p:notesMasterIdLst>
    <p:notesMasterId r:id="rId87"/>
  </p:notesMasterIdLst>
  <p:handoutMasterIdLst>
    <p:handoutMasterId r:id="rId88"/>
  </p:handoutMasterIdLst>
  <p:sldIdLst>
    <p:sldId id="501" r:id="rId29"/>
    <p:sldId id="638" r:id="rId30"/>
    <p:sldId id="475" r:id="rId31"/>
    <p:sldId id="386" r:id="rId32"/>
    <p:sldId id="424" r:id="rId33"/>
    <p:sldId id="340" r:id="rId34"/>
    <p:sldId id="389" r:id="rId35"/>
    <p:sldId id="628" r:id="rId36"/>
    <p:sldId id="629" r:id="rId37"/>
    <p:sldId id="528" r:id="rId38"/>
    <p:sldId id="597" r:id="rId39"/>
    <p:sldId id="598" r:id="rId40"/>
    <p:sldId id="599" r:id="rId41"/>
    <p:sldId id="439" r:id="rId42"/>
    <p:sldId id="438" r:id="rId43"/>
    <p:sldId id="630" r:id="rId44"/>
    <p:sldId id="473" r:id="rId45"/>
    <p:sldId id="530" r:id="rId46"/>
    <p:sldId id="531" r:id="rId47"/>
    <p:sldId id="532" r:id="rId48"/>
    <p:sldId id="533" r:id="rId49"/>
    <p:sldId id="534" r:id="rId50"/>
    <p:sldId id="535" r:id="rId51"/>
    <p:sldId id="518" r:id="rId52"/>
    <p:sldId id="536" r:id="rId53"/>
    <p:sldId id="537" r:id="rId54"/>
    <p:sldId id="477" r:id="rId55"/>
    <p:sldId id="538" r:id="rId56"/>
    <p:sldId id="476" r:id="rId57"/>
    <p:sldId id="426" r:id="rId58"/>
    <p:sldId id="481" r:id="rId59"/>
    <p:sldId id="480" r:id="rId60"/>
    <p:sldId id="479" r:id="rId61"/>
    <p:sldId id="478" r:id="rId62"/>
    <p:sldId id="600" r:id="rId63"/>
    <p:sldId id="546" r:id="rId64"/>
    <p:sldId id="602" r:id="rId65"/>
    <p:sldId id="603" r:id="rId66"/>
    <p:sldId id="604" r:id="rId67"/>
    <p:sldId id="605" r:id="rId68"/>
    <p:sldId id="606" r:id="rId69"/>
    <p:sldId id="417" r:id="rId70"/>
    <p:sldId id="591" r:id="rId71"/>
    <p:sldId id="588" r:id="rId72"/>
    <p:sldId id="592" r:id="rId73"/>
    <p:sldId id="593" r:id="rId74"/>
    <p:sldId id="594" r:id="rId75"/>
    <p:sldId id="595" r:id="rId76"/>
    <p:sldId id="596" r:id="rId77"/>
    <p:sldId id="589" r:id="rId78"/>
    <p:sldId id="459" r:id="rId79"/>
    <p:sldId id="590" r:id="rId80"/>
    <p:sldId id="458" r:id="rId81"/>
    <p:sldId id="466" r:id="rId82"/>
    <p:sldId id="634" r:id="rId83"/>
    <p:sldId id="631" r:id="rId84"/>
    <p:sldId id="636" r:id="rId85"/>
    <p:sldId id="635" r:id="rId86"/>
  </p:sldIdLst>
  <p:sldSz cx="12192000" cy="6858000"/>
  <p:notesSz cx="6797675" cy="9798050"/>
  <p:custDataLst>
    <p:tags r:id="rId8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="" xmlns:p14="http://schemas.microsoft.com/office/powerpoint/2010/main">
        <p14:section name="Раздел по умолчанию" id="{56085DC5-45CE-42BB-A206-7827B300143A}">
          <p14:sldIdLst>
            <p14:sldId id="501"/>
            <p14:sldId id="475"/>
            <p14:sldId id="386"/>
            <p14:sldId id="424"/>
            <p14:sldId id="340"/>
            <p14:sldId id="389"/>
            <p14:sldId id="628"/>
            <p14:sldId id="629"/>
            <p14:sldId id="528"/>
            <p14:sldId id="597"/>
            <p14:sldId id="598"/>
            <p14:sldId id="599"/>
            <p14:sldId id="439"/>
            <p14:sldId id="438"/>
            <p14:sldId id="630"/>
            <p14:sldId id="473"/>
            <p14:sldId id="530"/>
            <p14:sldId id="531"/>
            <p14:sldId id="532"/>
            <p14:sldId id="533"/>
            <p14:sldId id="534"/>
            <p14:sldId id="535"/>
            <p14:sldId id="518"/>
            <p14:sldId id="536"/>
            <p14:sldId id="537"/>
            <p14:sldId id="477"/>
            <p14:sldId id="538"/>
            <p14:sldId id="476"/>
            <p14:sldId id="426"/>
            <p14:sldId id="481"/>
            <p14:sldId id="480"/>
            <p14:sldId id="479"/>
            <p14:sldId id="478"/>
            <p14:sldId id="600"/>
            <p14:sldId id="546"/>
            <p14:sldId id="602"/>
            <p14:sldId id="603"/>
            <p14:sldId id="604"/>
            <p14:sldId id="605"/>
            <p14:sldId id="606"/>
            <p14:sldId id="417"/>
            <p14:sldId id="591"/>
            <p14:sldId id="588"/>
            <p14:sldId id="592"/>
            <p14:sldId id="593"/>
            <p14:sldId id="594"/>
            <p14:sldId id="595"/>
            <p14:sldId id="596"/>
            <p14:sldId id="589"/>
            <p14:sldId id="459"/>
            <p14:sldId id="590"/>
            <p14:sldId id="458"/>
            <p14:sldId id="466"/>
            <p14:sldId id="601"/>
            <p14:sldId id="577"/>
            <p14:sldId id="575"/>
            <p14:sldId id="578"/>
            <p14:sldId id="579"/>
            <p14:sldId id="580"/>
            <p14:sldId id="581"/>
            <p14:sldId id="582"/>
            <p14:sldId id="583"/>
            <p14:sldId id="545"/>
            <p14:sldId id="457"/>
            <p14:sldId id="607"/>
            <p14:sldId id="613"/>
            <p14:sldId id="608"/>
            <p14:sldId id="612"/>
            <p14:sldId id="614"/>
            <p14:sldId id="539"/>
            <p14:sldId id="540"/>
            <p14:sldId id="541"/>
            <p14:sldId id="542"/>
            <p14:sldId id="547"/>
            <p14:sldId id="549"/>
            <p14:sldId id="347"/>
            <p14:sldId id="507"/>
            <p14:sldId id="483"/>
            <p14:sldId id="486"/>
            <p14:sldId id="505"/>
            <p14:sldId id="503"/>
            <p14:sldId id="504"/>
            <p14:sldId id="550"/>
            <p14:sldId id="551"/>
            <p14:sldId id="615"/>
            <p14:sldId id="552"/>
            <p14:sldId id="553"/>
            <p14:sldId id="554"/>
            <p14:sldId id="616"/>
            <p14:sldId id="617"/>
            <p14:sldId id="618"/>
            <p14:sldId id="619"/>
            <p14:sldId id="620"/>
            <p14:sldId id="621"/>
            <p14:sldId id="622"/>
            <p14:sldId id="623"/>
            <p14:sldId id="555"/>
            <p14:sldId id="556"/>
            <p14:sldId id="624"/>
            <p14:sldId id="557"/>
            <p14:sldId id="484"/>
            <p14:sldId id="625"/>
            <p14:sldId id="558"/>
            <p14:sldId id="559"/>
            <p14:sldId id="560"/>
            <p14:sldId id="485"/>
            <p14:sldId id="561"/>
            <p14:sldId id="562"/>
            <p14:sldId id="563"/>
            <p14:sldId id="487"/>
            <p14:sldId id="568"/>
            <p14:sldId id="572"/>
            <p14:sldId id="573"/>
            <p14:sldId id="488"/>
            <p14:sldId id="626"/>
            <p14:sldId id="627"/>
            <p14:sldId id="565"/>
            <p14:sldId id="566"/>
            <p14:sldId id="564"/>
            <p14:sldId id="567"/>
            <p14:sldId id="569"/>
            <p14:sldId id="570"/>
            <p14:sldId id="571"/>
            <p14:sldId id="490"/>
            <p14:sldId id="574"/>
            <p14:sldId id="632"/>
            <p14:sldId id="633"/>
            <p14:sldId id="634"/>
            <p14:sldId id="631"/>
            <p14:sldId id="636"/>
            <p14:sldId id="635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userDrawn="1">
          <p15:clr>
            <a:srgbClr val="A4A3A4"/>
          </p15:clr>
        </p15:guide>
        <p15:guide id="2" pos="14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2D3494"/>
    <a:srgbClr val="EB2049"/>
    <a:srgbClr val="D1E7F6"/>
    <a:srgbClr val="2F3696"/>
    <a:srgbClr val="408671"/>
    <a:srgbClr val="A84A20"/>
    <a:srgbClr val="853A1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82" autoAdjust="0"/>
    <p:restoredTop sz="96305" autoAdjust="0"/>
  </p:normalViewPr>
  <p:slideViewPr>
    <p:cSldViewPr snapToGrid="0" showGuides="1">
      <p:cViewPr>
        <p:scale>
          <a:sx n="66" d="100"/>
          <a:sy n="66" d="100"/>
        </p:scale>
        <p:origin x="-744" y="-72"/>
      </p:cViewPr>
      <p:guideLst>
        <p:guide orient="horz"/>
        <p:guide pos="1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1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6.xml"/><Relationship Id="rId42" Type="http://schemas.openxmlformats.org/officeDocument/2006/relationships/slide" Target="slides/slide14.xml"/><Relationship Id="rId47" Type="http://schemas.openxmlformats.org/officeDocument/2006/relationships/slide" Target="slides/slide19.xml"/><Relationship Id="rId50" Type="http://schemas.openxmlformats.org/officeDocument/2006/relationships/slide" Target="slides/slide22.xml"/><Relationship Id="rId55" Type="http://schemas.openxmlformats.org/officeDocument/2006/relationships/slide" Target="slides/slide27.xml"/><Relationship Id="rId63" Type="http://schemas.openxmlformats.org/officeDocument/2006/relationships/slide" Target="slides/slide35.xml"/><Relationship Id="rId68" Type="http://schemas.openxmlformats.org/officeDocument/2006/relationships/slide" Target="slides/slide40.xml"/><Relationship Id="rId76" Type="http://schemas.openxmlformats.org/officeDocument/2006/relationships/slide" Target="slides/slide48.xml"/><Relationship Id="rId84" Type="http://schemas.openxmlformats.org/officeDocument/2006/relationships/slide" Target="slides/slide56.xml"/><Relationship Id="rId89" Type="http://schemas.openxmlformats.org/officeDocument/2006/relationships/tags" Target="tags/tag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43.xml"/><Relationship Id="rId9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4.xml"/><Relationship Id="rId37" Type="http://schemas.openxmlformats.org/officeDocument/2006/relationships/slide" Target="slides/slide9.xml"/><Relationship Id="rId40" Type="http://schemas.openxmlformats.org/officeDocument/2006/relationships/slide" Target="slides/slide12.xml"/><Relationship Id="rId45" Type="http://schemas.openxmlformats.org/officeDocument/2006/relationships/slide" Target="slides/slide17.xml"/><Relationship Id="rId53" Type="http://schemas.openxmlformats.org/officeDocument/2006/relationships/slide" Target="slides/slide25.xml"/><Relationship Id="rId58" Type="http://schemas.openxmlformats.org/officeDocument/2006/relationships/slide" Target="slides/slide30.xml"/><Relationship Id="rId66" Type="http://schemas.openxmlformats.org/officeDocument/2006/relationships/slide" Target="slides/slide38.xml"/><Relationship Id="rId74" Type="http://schemas.openxmlformats.org/officeDocument/2006/relationships/slide" Target="slides/slide46.xml"/><Relationship Id="rId79" Type="http://schemas.openxmlformats.org/officeDocument/2006/relationships/slide" Target="slides/slide51.xml"/><Relationship Id="rId87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33.xml"/><Relationship Id="rId82" Type="http://schemas.openxmlformats.org/officeDocument/2006/relationships/slide" Target="slides/slide54.xml"/><Relationship Id="rId90" Type="http://schemas.openxmlformats.org/officeDocument/2006/relationships/presProps" Target="presProps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2.xml"/><Relationship Id="rId35" Type="http://schemas.openxmlformats.org/officeDocument/2006/relationships/slide" Target="slides/slide7.xml"/><Relationship Id="rId43" Type="http://schemas.openxmlformats.org/officeDocument/2006/relationships/slide" Target="slides/slide15.xml"/><Relationship Id="rId48" Type="http://schemas.openxmlformats.org/officeDocument/2006/relationships/slide" Target="slides/slide20.xml"/><Relationship Id="rId56" Type="http://schemas.openxmlformats.org/officeDocument/2006/relationships/slide" Target="slides/slide28.xml"/><Relationship Id="rId64" Type="http://schemas.openxmlformats.org/officeDocument/2006/relationships/slide" Target="slides/slide36.xml"/><Relationship Id="rId69" Type="http://schemas.openxmlformats.org/officeDocument/2006/relationships/slide" Target="slides/slide41.xml"/><Relationship Id="rId77" Type="http://schemas.openxmlformats.org/officeDocument/2006/relationships/slide" Target="slides/slide49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3.xml"/><Relationship Id="rId72" Type="http://schemas.openxmlformats.org/officeDocument/2006/relationships/slide" Target="slides/slide44.xml"/><Relationship Id="rId80" Type="http://schemas.openxmlformats.org/officeDocument/2006/relationships/slide" Target="slides/slide52.xml"/><Relationship Id="rId85" Type="http://schemas.openxmlformats.org/officeDocument/2006/relationships/slide" Target="slides/slide57.xml"/><Relationship Id="rId9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5.xml"/><Relationship Id="rId38" Type="http://schemas.openxmlformats.org/officeDocument/2006/relationships/slide" Target="slides/slide10.xml"/><Relationship Id="rId46" Type="http://schemas.openxmlformats.org/officeDocument/2006/relationships/slide" Target="slides/slide18.xml"/><Relationship Id="rId59" Type="http://schemas.openxmlformats.org/officeDocument/2006/relationships/slide" Target="slides/slide31.xml"/><Relationship Id="rId67" Type="http://schemas.openxmlformats.org/officeDocument/2006/relationships/slide" Target="slides/slide39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3.xml"/><Relationship Id="rId54" Type="http://schemas.openxmlformats.org/officeDocument/2006/relationships/slide" Target="slides/slide26.xml"/><Relationship Id="rId62" Type="http://schemas.openxmlformats.org/officeDocument/2006/relationships/slide" Target="slides/slide34.xml"/><Relationship Id="rId70" Type="http://schemas.openxmlformats.org/officeDocument/2006/relationships/slide" Target="slides/slide42.xml"/><Relationship Id="rId75" Type="http://schemas.openxmlformats.org/officeDocument/2006/relationships/slide" Target="slides/slide47.xml"/><Relationship Id="rId83" Type="http://schemas.openxmlformats.org/officeDocument/2006/relationships/slide" Target="slides/slide55.xml"/><Relationship Id="rId88" Type="http://schemas.openxmlformats.org/officeDocument/2006/relationships/handoutMaster" Target="handoutMasters/handoutMaster1.xml"/><Relationship Id="rId9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8.xml"/><Relationship Id="rId49" Type="http://schemas.openxmlformats.org/officeDocument/2006/relationships/slide" Target="slides/slide21.xml"/><Relationship Id="rId57" Type="http://schemas.openxmlformats.org/officeDocument/2006/relationships/slide" Target="slides/slide29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3.xml"/><Relationship Id="rId44" Type="http://schemas.openxmlformats.org/officeDocument/2006/relationships/slide" Target="slides/slide16.xml"/><Relationship Id="rId52" Type="http://schemas.openxmlformats.org/officeDocument/2006/relationships/slide" Target="slides/slide24.xml"/><Relationship Id="rId60" Type="http://schemas.openxmlformats.org/officeDocument/2006/relationships/slide" Target="slides/slide32.xml"/><Relationship Id="rId65" Type="http://schemas.openxmlformats.org/officeDocument/2006/relationships/slide" Target="slides/slide37.xml"/><Relationship Id="rId73" Type="http://schemas.openxmlformats.org/officeDocument/2006/relationships/slide" Target="slides/slide45.xml"/><Relationship Id="rId78" Type="http://schemas.openxmlformats.org/officeDocument/2006/relationships/slide" Target="slides/slide50.xml"/><Relationship Id="rId81" Type="http://schemas.openxmlformats.org/officeDocument/2006/relationships/slide" Target="slides/slide53.xml"/><Relationship Id="rId86" Type="http://schemas.openxmlformats.org/officeDocument/2006/relationships/slide" Target="slides/slide5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5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5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5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098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AE2B7-847C-436E-B842-CCE949DEAD1B}" type="datetimeFigureOut">
              <a:rPr lang="ru-RU" smtClean="0"/>
              <a:pPr/>
              <a:t>26.04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098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3470D6-A7D1-4BA7-BEF6-5D40279B2C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186766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4B29EE-4036-4DBD-AC34-D813A099D36A}" type="datetimeFigureOut">
              <a:rPr lang="ru-RU" smtClean="0"/>
              <a:pPr/>
              <a:t>26.04.2019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61963" y="1225550"/>
            <a:ext cx="5873750" cy="33051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317"/>
            <a:ext cx="5438140" cy="385798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6D8710-C1F7-456F-ACD4-57F616EF49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01551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7550" y="1130300"/>
            <a:ext cx="5426075" cy="30527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788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E77DC141-41C0-4EEF-A082-6A7039E4C5F3}" type="slidenum">
              <a:rPr lang="ru-RU" altLang="ru-RU">
                <a:solidFill>
                  <a:srgbClr val="000000"/>
                </a:solidFill>
                <a:latin typeface="Calibri" pitchFamily="34" charset="0"/>
              </a:rPr>
              <a:pPr/>
              <a:t>2</a:t>
            </a:fld>
            <a:endParaRPr lang="ru-RU" altLang="ru-RU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087106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286856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194346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31612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0375" y="1225550"/>
            <a:ext cx="5876925" cy="33067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477832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0375" y="1225550"/>
            <a:ext cx="5876925" cy="33067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2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432404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27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919370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29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963748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0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982588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1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972056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2888" y="725488"/>
            <a:ext cx="6443662" cy="36258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6537523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955099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3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029927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4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7118626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3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779658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4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634165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4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34165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4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34165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4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341650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4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341650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4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3416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3926760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4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34165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51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6401240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53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0211024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54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08273144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5413" y="1130300"/>
            <a:ext cx="4070350" cy="30527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788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E77DC141-41C0-4EEF-A082-6A7039E4C5F3}" type="slidenum">
              <a:rPr lang="ru-RU" altLang="ru-RU">
                <a:solidFill>
                  <a:srgbClr val="000000"/>
                </a:solidFill>
                <a:latin typeface="Calibri" pitchFamily="34" charset="0"/>
              </a:rPr>
              <a:pPr/>
              <a:t>57</a:t>
            </a:fld>
            <a:endParaRPr lang="ru-RU" altLang="ru-RU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38645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735664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3595488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457330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61963" y="1225550"/>
            <a:ext cx="587375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020848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" name="Google Shape;706;g45e7b886d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4938" y="735013"/>
            <a:ext cx="6527800" cy="36734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7" name="Google Shape;707;g45e7b886d4_0_0:notes"/>
          <p:cNvSpPr txBox="1">
            <a:spLocks noGrp="1"/>
          </p:cNvSpPr>
          <p:nvPr>
            <p:ph type="body" idx="1"/>
          </p:nvPr>
        </p:nvSpPr>
        <p:spPr>
          <a:xfrm>
            <a:off x="679768" y="4654074"/>
            <a:ext cx="5438140" cy="4409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="" xmlns:p14="http://schemas.microsoft.com/office/powerpoint/2010/main" val="47665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4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51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61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71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81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9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101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111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4" Type="http://schemas.openxmlformats.org/officeDocument/2006/relationships/tags" Target="../tags/tag11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121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4" Type="http://schemas.openxmlformats.org/officeDocument/2006/relationships/tags" Target="../tags/tag12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131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141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4" Type="http://schemas.openxmlformats.org/officeDocument/2006/relationships/tags" Target="../tags/tag14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151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5" Type="http://schemas.openxmlformats.org/officeDocument/2006/relationships/tags" Target="../tags/tag156.xml"/><Relationship Id="rId4" Type="http://schemas.openxmlformats.org/officeDocument/2006/relationships/tags" Target="../tags/tag15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13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4.bin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5.bin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13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3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3.xml"/><Relationship Id="rId1" Type="http://schemas.openxmlformats.org/officeDocument/2006/relationships/vmlDrawing" Target="../drawings/vmlDrawing89.v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3.bin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4.bin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5.bin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98.v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2.bin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3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4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107.v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1.bin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2.bin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3.bin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116.v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0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1.bin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2.bin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125.v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0.bin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2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3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134.v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19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Master" Target="../slideMasters/slideMaster19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19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9.bin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0.bin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1.bin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19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19.xml"/><Relationship Id="rId1" Type="http://schemas.openxmlformats.org/officeDocument/2006/relationships/vmlDrawing" Target="../drawings/vmlDrawing143.v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20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Master" Target="../slideMasters/slideMaster20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Master" Target="../slideMasters/slideMaster20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8.bin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9.bin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0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20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20.xml"/><Relationship Id="rId1" Type="http://schemas.openxmlformats.org/officeDocument/2006/relationships/vmlDrawing" Target="../drawings/vmlDrawing152.v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7.bin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8.bin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9.bin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160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161.v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3.bin"/><Relationship Id="rId2" Type="http://schemas.openxmlformats.org/officeDocument/2006/relationships/slideMaster" Target="../slideMasters/slideMaster22.xml"/><Relationship Id="rId1" Type="http://schemas.openxmlformats.org/officeDocument/2006/relationships/vmlDrawing" Target="../drawings/vmlDrawing163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4.bin"/><Relationship Id="rId2" Type="http://schemas.openxmlformats.org/officeDocument/2006/relationships/slideMaster" Target="../slideMasters/slideMaster22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5.bin"/><Relationship Id="rId2" Type="http://schemas.openxmlformats.org/officeDocument/2006/relationships/slideMaster" Target="../slideMasters/slideMaster22.xml"/><Relationship Id="rId1" Type="http://schemas.openxmlformats.org/officeDocument/2006/relationships/vmlDrawing" Target="../drawings/vmlDrawing165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6.bin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7.bin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8.bin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9.bin"/><Relationship Id="rId2" Type="http://schemas.openxmlformats.org/officeDocument/2006/relationships/slideMaster" Target="../slideMasters/slideMaster22.xml"/><Relationship Id="rId1" Type="http://schemas.openxmlformats.org/officeDocument/2006/relationships/vmlDrawing" Target="../drawings/vmlDrawing16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0.bin"/><Relationship Id="rId2" Type="http://schemas.openxmlformats.org/officeDocument/2006/relationships/slideMaster" Target="../slideMasters/slideMaster22.xml"/><Relationship Id="rId1" Type="http://schemas.openxmlformats.org/officeDocument/2006/relationships/vmlDrawing" Target="../drawings/vmlDrawing170.v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2.bin"/><Relationship Id="rId2" Type="http://schemas.openxmlformats.org/officeDocument/2006/relationships/slideMaster" Target="../slideMasters/slideMaster23.xml"/><Relationship Id="rId1" Type="http://schemas.openxmlformats.org/officeDocument/2006/relationships/vmlDrawing" Target="../drawings/vmlDrawing17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3.bin"/><Relationship Id="rId2" Type="http://schemas.openxmlformats.org/officeDocument/2006/relationships/slideMaster" Target="../slideMasters/slideMaster23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4.bin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6.bin"/><Relationship Id="rId2" Type="http://schemas.openxmlformats.org/officeDocument/2006/relationships/slideMaster" Target="../slideMasters/slideMaster24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7.bin"/><Relationship Id="rId2" Type="http://schemas.openxmlformats.org/officeDocument/2006/relationships/slideMaster" Target="../slideMasters/slideMaster24.xml"/><Relationship Id="rId1" Type="http://schemas.openxmlformats.org/officeDocument/2006/relationships/vmlDrawing" Target="../drawings/vmlDrawing17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7.v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8.bin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6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6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6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6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6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7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7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7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7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7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8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8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8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8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8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8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6.v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5.v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4.v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0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53.v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62.v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7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8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71.v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6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80.v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962921598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6574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813682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Белый слайд с лого и заголовком">
  <p:cSld name="Белый слайд с лого и заголовком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42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2" name="Google Shape;322;p42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3" name="Google Shape;323;p42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24" name="Google Shape;324;p42"/>
          <p:cNvSpPr/>
          <p:nvPr/>
        </p:nvSpPr>
        <p:spPr>
          <a:xfrm>
            <a:off x="380960" y="6286520"/>
            <a:ext cx="4191200" cy="500000"/>
          </a:xfrm>
          <a:prstGeom prst="rect">
            <a:avLst/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5" name="Google Shape;325;p42"/>
          <p:cNvSpPr/>
          <p:nvPr/>
        </p:nvSpPr>
        <p:spPr>
          <a:xfrm>
            <a:off x="0" y="0"/>
            <a:ext cx="12192000" cy="1428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" name="Google Shape;326;p42"/>
          <p:cNvSpPr txBox="1">
            <a:spLocks noGrp="1"/>
          </p:cNvSpPr>
          <p:nvPr>
            <p:ph type="ctrTitle"/>
          </p:nvPr>
        </p:nvSpPr>
        <p:spPr>
          <a:xfrm>
            <a:off x="914400" y="4003703"/>
            <a:ext cx="10363200" cy="14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C3393"/>
              </a:buClr>
              <a:buSzPts val="2800"/>
              <a:buFont typeface="Calibri"/>
              <a:buNone/>
              <a:defRPr sz="3733" b="0" i="0" u="none" strike="noStrike" cap="none">
                <a:solidFill>
                  <a:srgbClr val="2C339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pic>
        <p:nvPicPr>
          <p:cNvPr id="327" name="Google Shape;327;p42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2143120" y="1619242"/>
            <a:ext cx="7905765" cy="18622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4427927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28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5686686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7999343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22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2" y="6269265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11351692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7910461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22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91370937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09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3495196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9031772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37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37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1302336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82681250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04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04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343442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с лого РУ и заголовками" type="title">
  <p:cSld name="Синий с лого РУ и заголовками"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Google Shape;329;p43"/>
          <p:cNvSpPr/>
          <p:nvPr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" name="Google Shape;330;p43"/>
          <p:cNvSpPr txBox="1">
            <a:spLocks noGrp="1"/>
          </p:cNvSpPr>
          <p:nvPr>
            <p:ph type="ctrTitle"/>
          </p:nvPr>
        </p:nvSpPr>
        <p:spPr>
          <a:xfrm>
            <a:off x="914400" y="3549644"/>
            <a:ext cx="10363200" cy="13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31" name="Google Shape;331;p43"/>
          <p:cNvSpPr txBox="1">
            <a:spLocks noGrp="1"/>
          </p:cNvSpPr>
          <p:nvPr>
            <p:ph type="subTitle" idx="1"/>
          </p:nvPr>
        </p:nvSpPr>
        <p:spPr>
          <a:xfrm>
            <a:off x="1828800" y="4953011"/>
            <a:ext cx="8534400" cy="10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969696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2" name="Google Shape;332;p43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3" name="Google Shape;333;p43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4" name="Google Shape;334;p43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35" name="Google Shape;335;p43" descr="D:\Masha\черная пятница\!Фирменные стили и логотипы\!Российский учебник\презентация\для перезентации РУ\РУ-белый.png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2333599" y="1196697"/>
            <a:ext cx="7524804" cy="17941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76711692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8981062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795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795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1801828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35106133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09054347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219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36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1835635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219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36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4345032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8236372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702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440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ru-RU" sz="3733" dirty="0" smtClean="0">
                <a:solidFill>
                  <a:srgbClr val="FFFFFF"/>
                </a:solidFill>
              </a:rPr>
              <a:t>Образец заголовка</a:t>
            </a:r>
            <a:endParaRPr lang="ru-RU" sz="37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5789348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68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965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10322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12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96697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7474467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с лого издательств">
  <p:cSld name="Синий с лого издательств">
    <p:spTree>
      <p:nvGrpSpPr>
        <p:cNvPr id="1" name="Shape 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Google Shape;337;p4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" name="Google Shape;338;p44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9" name="Google Shape;339;p44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0" name="Google Shape;340;p44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41" name="Google Shape;341;p44"/>
          <p:cNvSpPr/>
          <p:nvPr/>
        </p:nvSpPr>
        <p:spPr>
          <a:xfrm>
            <a:off x="0" y="5473728"/>
            <a:ext cx="12192000" cy="1098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2" name="Google Shape;342;p44" descr="D:\Masha\черная пятница\!Фирменные стили и логотипы\!Российский учебник\презентация\для перезентации РУ\РУ-белый.png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1227602" y="1196697"/>
            <a:ext cx="9659732" cy="2303183"/>
          </a:xfrm>
          <a:prstGeom prst="rect">
            <a:avLst/>
          </a:prstGeom>
          <a:noFill/>
          <a:ln>
            <a:noFill/>
          </a:ln>
        </p:spPr>
      </p:pic>
      <p:pic>
        <p:nvPicPr>
          <p:cNvPr id="343" name="Google Shape;343;p44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3905235" y="5668580"/>
            <a:ext cx="4089440" cy="6952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20352683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18700637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80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30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6800520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57685989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6667041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42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3879169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2312590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2" y="6269279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57849667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2705894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636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49303396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2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516297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с лого издательств и заголовком">
  <p:cSld name="Синий с лого издательств и заголовком"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45"/>
          <p:cNvSpPr/>
          <p:nvPr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6" name="Google Shape;346;p45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7" name="Google Shape;347;p45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8" name="Google Shape;348;p45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49" name="Google Shape;349;p45" descr="D:\Masha\черная пятница\!Фирменные стили и логотипы\!Российский учебник\презентация\для перезентации РУ\РУ-белый.png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2333599" y="848750"/>
            <a:ext cx="7524804" cy="1794149"/>
          </a:xfrm>
          <a:prstGeom prst="rect">
            <a:avLst/>
          </a:prstGeom>
          <a:noFill/>
          <a:ln>
            <a:noFill/>
          </a:ln>
        </p:spPr>
      </p:pic>
      <p:sp>
        <p:nvSpPr>
          <p:cNvPr id="350" name="Google Shape;350;p45"/>
          <p:cNvSpPr/>
          <p:nvPr/>
        </p:nvSpPr>
        <p:spPr>
          <a:xfrm>
            <a:off x="0" y="5473728"/>
            <a:ext cx="12192000" cy="1098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51" name="Google Shape;351;p45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3905235" y="5668580"/>
            <a:ext cx="4089440" cy="695205"/>
          </a:xfrm>
          <a:prstGeom prst="rect">
            <a:avLst/>
          </a:prstGeom>
          <a:noFill/>
          <a:ln>
            <a:noFill/>
          </a:ln>
        </p:spPr>
      </p:pic>
      <p:sp>
        <p:nvSpPr>
          <p:cNvPr id="352" name="Google Shape;352;p45"/>
          <p:cNvSpPr txBox="1">
            <a:spLocks noGrp="1"/>
          </p:cNvSpPr>
          <p:nvPr>
            <p:ph type="ctrTitle"/>
          </p:nvPr>
        </p:nvSpPr>
        <p:spPr>
          <a:xfrm>
            <a:off x="914400" y="2952747"/>
            <a:ext cx="10363200" cy="13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53" name="Google Shape;353;p45"/>
          <p:cNvSpPr txBox="1">
            <a:spLocks noGrp="1"/>
          </p:cNvSpPr>
          <p:nvPr>
            <p:ph type="subTitle" idx="1"/>
          </p:nvPr>
        </p:nvSpPr>
        <p:spPr>
          <a:xfrm>
            <a:off x="1828800" y="4356113"/>
            <a:ext cx="8534400" cy="10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969696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212172802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466590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46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46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3073493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7537796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18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18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2058325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2392761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809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97115565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6745995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3369081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3306089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233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50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705722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 с лого РУ">
  <p:cSld name="Синий пустой с лого РУ"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Google Shape;355;p4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56" name="Google Shape;356;p46" descr="D:\Masha\черная пятница\!Фирменные стили и логотипы\!Российский учебник\презентация\для перезентации РУ\для-перезентации-РУ-01.png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1191671" y="2163220"/>
            <a:ext cx="9808660" cy="278729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382354759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9417493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716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454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ru-RU" sz="3733" dirty="0" smtClean="0">
                <a:solidFill>
                  <a:srgbClr val="FFFFFF"/>
                </a:solidFill>
              </a:rPr>
              <a:t>Образец заголовка</a:t>
            </a:r>
            <a:endParaRPr lang="ru-RU" sz="37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1065838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75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979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45634788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1_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3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3061589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648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3398599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648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98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69900654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07145070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809365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704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6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20" y="1619242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27294753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12" y="6262891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470679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без лого с заголовками">
  <p:cSld name="Синий без лого с заголовками">
    <p:spTree>
      <p:nvGrpSpPr>
        <p:cNvPr id="1" name="Shape 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Google Shape;358;p4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9" name="Google Shape;359;p47"/>
          <p:cNvSpPr txBox="1">
            <a:spLocks noGrp="1"/>
          </p:cNvSpPr>
          <p:nvPr>
            <p:ph type="ctrTitle"/>
          </p:nvPr>
        </p:nvSpPr>
        <p:spPr>
          <a:xfrm>
            <a:off x="914400" y="2130425"/>
            <a:ext cx="10363200" cy="14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60" name="Google Shape;360;p47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969696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1" name="Google Shape;361;p47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2" name="Google Shape;362;p47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3" name="Google Shape;363;p47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7045396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2064958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686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86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31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1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4086895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062010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877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877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5229818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61777618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0532680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301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318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833535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301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318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3384133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67753916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605330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609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133" dirty="0" err="1" smtClean="0">
                <a:solidFill>
                  <a:srgbClr val="515151"/>
                </a:solidFill>
              </a:rPr>
              <a:t>ros.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r>
              <a:rPr lang="ru-RU" sz="2133" dirty="0" smtClean="0">
                <a:solidFill>
                  <a:srgbClr val="515151"/>
                </a:solidFill>
              </a:rPr>
              <a:t>	</a:t>
            </a:r>
            <a:r>
              <a:rPr lang="en-US" sz="2133" dirty="0" err="1" smtClean="0">
                <a:solidFill>
                  <a:srgbClr val="515151"/>
                </a:solidFill>
              </a:rPr>
              <a:t>rosuchebnik</a:t>
            </a:r>
            <a:endParaRPr lang="ru-RU" sz="2133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9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5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5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104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5181892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 (РУ лого внизу)">
  <p:cSld name="Заголовок и объект (РУ лого внизу)"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p48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66" name="Google Shape;366;p48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507987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7" name="Google Shape;367;p48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8" name="Google Shape;368;p48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9" name="Google Shape;369;p48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70" name="Google Shape;370;p48"/>
          <p:cNvSpPr/>
          <p:nvPr/>
        </p:nvSpPr>
        <p:spPr>
          <a:xfrm>
            <a:off x="380960" y="6286520"/>
            <a:ext cx="3333600" cy="502800"/>
          </a:xfrm>
          <a:prstGeom prst="rect">
            <a:avLst/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1" name="Google Shape;371;p48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476212" y="6269279"/>
            <a:ext cx="2095515" cy="4936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146680785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930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71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6135812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5883275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4152938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3708598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1576868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0541478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79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79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1462316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11885841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7688440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4324615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 без лого">
  <p:cSld name="Заголовок и объект без лого"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p49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74" name="Google Shape;374;p49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507987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5" name="Google Shape;375;p49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6" name="Google Shape;376;p49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7" name="Google Shape;377;p49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78" name="Google Shape;378;p49"/>
          <p:cNvSpPr/>
          <p:nvPr/>
        </p:nvSpPr>
        <p:spPr>
          <a:xfrm>
            <a:off x="380960" y="6096019"/>
            <a:ext cx="4191200" cy="714400"/>
          </a:xfrm>
          <a:prstGeom prst="rect">
            <a:avLst/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0204498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5453355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7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16899985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7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6585830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24462578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82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0435423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934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75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07737808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18193343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8342689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00061959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714021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Два объекта"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Google Shape;380;p50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81" name="Google Shape;381;p50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5384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2" name="Google Shape;382;p50"/>
          <p:cNvSpPr txBox="1">
            <a:spLocks noGrp="1"/>
          </p:cNvSpPr>
          <p:nvPr>
            <p:ph type="body" idx="2"/>
          </p:nvPr>
        </p:nvSpPr>
        <p:spPr>
          <a:xfrm>
            <a:off x="6197600" y="1600201"/>
            <a:ext cx="5384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3" name="Google Shape;383;p50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4" name="Google Shape;384;p50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5" name="Google Shape;385;p50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7757885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1633961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83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83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6583259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4673017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3651914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70348414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7303419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7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447171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7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01258668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601033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82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025748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Сравнение"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51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88" name="Google Shape;388;p51"/>
          <p:cNvSpPr txBox="1">
            <a:spLocks noGrp="1"/>
          </p:cNvSpPr>
          <p:nvPr>
            <p:ph type="body" idx="1"/>
          </p:nvPr>
        </p:nvSpPr>
        <p:spPr>
          <a:xfrm>
            <a:off x="609600" y="1535113"/>
            <a:ext cx="5386800" cy="63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609585" marR="0" lvl="0" indent="-30479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9" name="Google Shape;389;p51"/>
          <p:cNvSpPr txBox="1">
            <a:spLocks noGrp="1"/>
          </p:cNvSpPr>
          <p:nvPr>
            <p:ph type="body" idx="2"/>
          </p:nvPr>
        </p:nvSpPr>
        <p:spPr>
          <a:xfrm>
            <a:off x="609600" y="2174875"/>
            <a:ext cx="5386800" cy="39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0" name="Google Shape;390;p51"/>
          <p:cNvSpPr txBox="1">
            <a:spLocks noGrp="1"/>
          </p:cNvSpPr>
          <p:nvPr>
            <p:ph type="body" idx="3"/>
          </p:nvPr>
        </p:nvSpPr>
        <p:spPr>
          <a:xfrm>
            <a:off x="6193368" y="1535113"/>
            <a:ext cx="5389200" cy="63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609585" marR="0" lvl="0" indent="-30479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1" name="Google Shape;391;p51"/>
          <p:cNvSpPr txBox="1">
            <a:spLocks noGrp="1"/>
          </p:cNvSpPr>
          <p:nvPr>
            <p:ph type="body" idx="4"/>
          </p:nvPr>
        </p:nvSpPr>
        <p:spPr>
          <a:xfrm>
            <a:off x="6193368" y="2174875"/>
            <a:ext cx="5389200" cy="39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2" name="Google Shape;392;p51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3" name="Google Shape;393;p51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4" name="Google Shape;394;p51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2095737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94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35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81572778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5951127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2741787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10011225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7364663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2893148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43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43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6616007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0860124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8707109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32344441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56963326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92836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81998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колонки текста">
  <p:cSld name="2 колонки текста">
    <p:spTree>
      <p:nvGrpSpPr>
        <p:cNvPr id="1" name="Shape 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Google Shape;396;p52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7" name="Google Shape;397;p52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8" name="Google Shape;398;p52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99" name="Google Shape;399;p52"/>
          <p:cNvSpPr txBox="1">
            <a:spLocks noGrp="1"/>
          </p:cNvSpPr>
          <p:nvPr>
            <p:ph type="body" idx="1"/>
          </p:nvPr>
        </p:nvSpPr>
        <p:spPr>
          <a:xfrm>
            <a:off x="609600" y="1857365"/>
            <a:ext cx="5200800" cy="4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0" name="Google Shape;400;p52"/>
          <p:cNvSpPr txBox="1">
            <a:spLocks noGrp="1"/>
          </p:cNvSpPr>
          <p:nvPr>
            <p:ph type="body" idx="2"/>
          </p:nvPr>
        </p:nvSpPr>
        <p:spPr>
          <a:xfrm>
            <a:off x="6381752" y="1857365"/>
            <a:ext cx="5105200" cy="4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1" name="Google Shape;401;p52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259963958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3706736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3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4268666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3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9790329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9099284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8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11745060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902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43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54138672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321378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7581805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88076276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185599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рисунка с подписями">
  <p:cSld name="два рисунка с подписями"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53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4" name="Google Shape;404;p53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5" name="Google Shape;405;p53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06" name="Google Shape;406;p53"/>
          <p:cNvSpPr txBox="1">
            <a:spLocks noGrp="1"/>
          </p:cNvSpPr>
          <p:nvPr>
            <p:ph type="body" idx="1"/>
          </p:nvPr>
        </p:nvSpPr>
        <p:spPr>
          <a:xfrm>
            <a:off x="609600" y="4508501"/>
            <a:ext cx="5296000" cy="16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7" name="Google Shape;407;p53"/>
          <p:cNvSpPr txBox="1">
            <a:spLocks noGrp="1"/>
          </p:cNvSpPr>
          <p:nvPr>
            <p:ph type="body" idx="2"/>
          </p:nvPr>
        </p:nvSpPr>
        <p:spPr>
          <a:xfrm>
            <a:off x="6381752" y="4508501"/>
            <a:ext cx="5238800" cy="16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8" name="Google Shape;408;p53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09" name="Google Shape;409;p53"/>
          <p:cNvSpPr>
            <a:spLocks noGrp="1"/>
          </p:cNvSpPr>
          <p:nvPr>
            <p:ph type="pic" idx="3"/>
          </p:nvPr>
        </p:nvSpPr>
        <p:spPr>
          <a:xfrm>
            <a:off x="624417" y="1785927"/>
            <a:ext cx="5281200" cy="24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0" name="Google Shape;410;p53"/>
          <p:cNvSpPr>
            <a:spLocks noGrp="1"/>
          </p:cNvSpPr>
          <p:nvPr>
            <p:ph type="pic" idx="4"/>
          </p:nvPr>
        </p:nvSpPr>
        <p:spPr>
          <a:xfrm>
            <a:off x="6381752" y="1785927"/>
            <a:ext cx="5238800" cy="24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177222991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6601294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51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51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0476745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41175338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06623934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264130859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8718366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4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02139743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4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3167343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3000787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95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130810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несколько рисунков с подписями">
  <p:cSld name="несколько рисунков с подписями"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Google Shape;412;p54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3" name="Google Shape;413;p54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4" name="Google Shape;414;p54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15" name="Google Shape;415;p54"/>
          <p:cNvSpPr txBox="1">
            <a:spLocks noGrp="1"/>
          </p:cNvSpPr>
          <p:nvPr>
            <p:ph type="body" idx="1"/>
          </p:nvPr>
        </p:nvSpPr>
        <p:spPr>
          <a:xfrm>
            <a:off x="761963" y="3071811"/>
            <a:ext cx="4953200" cy="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6" name="Google Shape;416;p54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17" name="Google Shape;417;p54"/>
          <p:cNvSpPr>
            <a:spLocks noGrp="1"/>
          </p:cNvSpPr>
          <p:nvPr>
            <p:ph type="pic" idx="2"/>
          </p:nvPr>
        </p:nvSpPr>
        <p:spPr>
          <a:xfrm>
            <a:off x="761963" y="1785928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8" name="Google Shape;418;p54"/>
          <p:cNvSpPr>
            <a:spLocks noGrp="1"/>
          </p:cNvSpPr>
          <p:nvPr>
            <p:ph type="pic" idx="3"/>
          </p:nvPr>
        </p:nvSpPr>
        <p:spPr>
          <a:xfrm>
            <a:off x="3333731" y="1785928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9" name="Google Shape;419;p54"/>
          <p:cNvSpPr txBox="1">
            <a:spLocks noGrp="1"/>
          </p:cNvSpPr>
          <p:nvPr>
            <p:ph type="body" idx="4"/>
          </p:nvPr>
        </p:nvSpPr>
        <p:spPr>
          <a:xfrm>
            <a:off x="761963" y="5357825"/>
            <a:ext cx="4953200" cy="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0" name="Google Shape;420;p54"/>
          <p:cNvSpPr>
            <a:spLocks noGrp="1"/>
          </p:cNvSpPr>
          <p:nvPr>
            <p:ph type="pic" idx="5"/>
          </p:nvPr>
        </p:nvSpPr>
        <p:spPr>
          <a:xfrm>
            <a:off x="761963" y="4071943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1" name="Google Shape;421;p54"/>
          <p:cNvSpPr>
            <a:spLocks noGrp="1"/>
          </p:cNvSpPr>
          <p:nvPr>
            <p:ph type="pic" idx="6"/>
          </p:nvPr>
        </p:nvSpPr>
        <p:spPr>
          <a:xfrm>
            <a:off x="3333731" y="4071943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2" name="Google Shape;422;p54"/>
          <p:cNvSpPr txBox="1">
            <a:spLocks noGrp="1"/>
          </p:cNvSpPr>
          <p:nvPr>
            <p:ph type="body" idx="7"/>
          </p:nvPr>
        </p:nvSpPr>
        <p:spPr>
          <a:xfrm>
            <a:off x="6477003" y="3071811"/>
            <a:ext cx="4953200" cy="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3" name="Google Shape;423;p54"/>
          <p:cNvSpPr>
            <a:spLocks noGrp="1"/>
          </p:cNvSpPr>
          <p:nvPr>
            <p:ph type="pic" idx="8"/>
          </p:nvPr>
        </p:nvSpPr>
        <p:spPr>
          <a:xfrm>
            <a:off x="6477003" y="1785928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4" name="Google Shape;424;p54"/>
          <p:cNvSpPr>
            <a:spLocks noGrp="1"/>
          </p:cNvSpPr>
          <p:nvPr>
            <p:ph type="pic" idx="9"/>
          </p:nvPr>
        </p:nvSpPr>
        <p:spPr>
          <a:xfrm>
            <a:off x="9048771" y="1785928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5" name="Google Shape;425;p54"/>
          <p:cNvSpPr txBox="1">
            <a:spLocks noGrp="1"/>
          </p:cNvSpPr>
          <p:nvPr>
            <p:ph type="body" idx="13"/>
          </p:nvPr>
        </p:nvSpPr>
        <p:spPr>
          <a:xfrm>
            <a:off x="6477003" y="5357825"/>
            <a:ext cx="4953200" cy="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6" name="Google Shape;426;p54"/>
          <p:cNvSpPr>
            <a:spLocks noGrp="1"/>
          </p:cNvSpPr>
          <p:nvPr>
            <p:ph type="pic" idx="14"/>
          </p:nvPr>
        </p:nvSpPr>
        <p:spPr>
          <a:xfrm>
            <a:off x="6477003" y="4071943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7" name="Google Shape;427;p54"/>
          <p:cNvSpPr>
            <a:spLocks noGrp="1"/>
          </p:cNvSpPr>
          <p:nvPr>
            <p:ph type="pic" idx="15"/>
          </p:nvPr>
        </p:nvSpPr>
        <p:spPr>
          <a:xfrm>
            <a:off x="9048771" y="4071943"/>
            <a:ext cx="2381200" cy="11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50342998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90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31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01775625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5236558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3193794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936635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8460588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6561103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39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39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49208692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6904877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17281236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744413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-ре блока с заголовками">
  <p:cSld name="4-ре блока с заголовками">
    <p:spTree>
      <p:nvGrpSpPr>
        <p:cNvPr id="1" name="Shape 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Google Shape;429;p55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30" name="Google Shape;430;p55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1" name="Google Shape;431;p55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2" name="Google Shape;432;p55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33" name="Google Shape;433;p55"/>
          <p:cNvSpPr txBox="1">
            <a:spLocks noGrp="1"/>
          </p:cNvSpPr>
          <p:nvPr>
            <p:ph type="body" idx="1"/>
          </p:nvPr>
        </p:nvSpPr>
        <p:spPr>
          <a:xfrm>
            <a:off x="624417" y="2071677"/>
            <a:ext cx="54292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4" name="Google Shape;434;p55"/>
          <p:cNvSpPr txBox="1">
            <a:spLocks noGrp="1"/>
          </p:cNvSpPr>
          <p:nvPr>
            <p:ph type="body" idx="2"/>
          </p:nvPr>
        </p:nvSpPr>
        <p:spPr>
          <a:xfrm>
            <a:off x="624417" y="1571612"/>
            <a:ext cx="5429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5" name="Google Shape;435;p55"/>
          <p:cNvSpPr txBox="1">
            <a:spLocks noGrp="1"/>
          </p:cNvSpPr>
          <p:nvPr>
            <p:ph type="body" idx="3"/>
          </p:nvPr>
        </p:nvSpPr>
        <p:spPr>
          <a:xfrm>
            <a:off x="624417" y="4357693"/>
            <a:ext cx="54292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6" name="Google Shape;436;p55"/>
          <p:cNvSpPr txBox="1">
            <a:spLocks noGrp="1"/>
          </p:cNvSpPr>
          <p:nvPr>
            <p:ph type="body" idx="4"/>
          </p:nvPr>
        </p:nvSpPr>
        <p:spPr>
          <a:xfrm>
            <a:off x="624417" y="3857628"/>
            <a:ext cx="5429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7" name="Google Shape;437;p55"/>
          <p:cNvSpPr txBox="1">
            <a:spLocks noGrp="1"/>
          </p:cNvSpPr>
          <p:nvPr>
            <p:ph type="body" idx="5"/>
          </p:nvPr>
        </p:nvSpPr>
        <p:spPr>
          <a:xfrm>
            <a:off x="6286501" y="2071677"/>
            <a:ext cx="54292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8" name="Google Shape;438;p55"/>
          <p:cNvSpPr txBox="1">
            <a:spLocks noGrp="1"/>
          </p:cNvSpPr>
          <p:nvPr>
            <p:ph type="body" idx="6"/>
          </p:nvPr>
        </p:nvSpPr>
        <p:spPr>
          <a:xfrm>
            <a:off x="6286501" y="1571612"/>
            <a:ext cx="5429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9" name="Google Shape;439;p55"/>
          <p:cNvSpPr txBox="1">
            <a:spLocks noGrp="1"/>
          </p:cNvSpPr>
          <p:nvPr>
            <p:ph type="body" idx="7"/>
          </p:nvPr>
        </p:nvSpPr>
        <p:spPr>
          <a:xfrm>
            <a:off x="6286501" y="4357693"/>
            <a:ext cx="54292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0" name="Google Shape;440;p55"/>
          <p:cNvSpPr txBox="1">
            <a:spLocks noGrp="1"/>
          </p:cNvSpPr>
          <p:nvPr>
            <p:ph type="body" idx="8"/>
          </p:nvPr>
        </p:nvSpPr>
        <p:spPr>
          <a:xfrm>
            <a:off x="6286501" y="3857628"/>
            <a:ext cx="5429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316325419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90438651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3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2765787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33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7848270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8050608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83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9771000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86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27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7270082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3971428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1893465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82068803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338434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ри блока с заголовками и пояснениями">
  <p:cSld name="три блока с заголовками и пояснениями"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Google Shape;442;p56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43" name="Google Shape;443;p56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4" name="Google Shape;444;p56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5" name="Google Shape;445;p56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46" name="Google Shape;446;p56"/>
          <p:cNvSpPr>
            <a:spLocks noGrp="1"/>
          </p:cNvSpPr>
          <p:nvPr>
            <p:ph type="body" idx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30479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7" name="Google Shape;447;p56"/>
          <p:cNvSpPr>
            <a:spLocks noGrp="1"/>
          </p:cNvSpPr>
          <p:nvPr>
            <p:ph type="body" idx="2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30479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8" name="Google Shape;448;p56"/>
          <p:cNvSpPr>
            <a:spLocks noGrp="1"/>
          </p:cNvSpPr>
          <p:nvPr>
            <p:ph type="body" idx="3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30479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9" name="Google Shape;449;p56"/>
          <p:cNvSpPr txBox="1">
            <a:spLocks noGrp="1"/>
          </p:cNvSpPr>
          <p:nvPr>
            <p:ph type="body" idx="4"/>
          </p:nvPr>
        </p:nvSpPr>
        <p:spPr>
          <a:xfrm>
            <a:off x="480000" y="2000240"/>
            <a:ext cx="3648000" cy="32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0" name="Google Shape;450;p56"/>
          <p:cNvSpPr txBox="1">
            <a:spLocks noGrp="1"/>
          </p:cNvSpPr>
          <p:nvPr>
            <p:ph type="body" idx="5"/>
          </p:nvPr>
        </p:nvSpPr>
        <p:spPr>
          <a:xfrm>
            <a:off x="4344784" y="2000240"/>
            <a:ext cx="3648000" cy="32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1" name="Google Shape;451;p56"/>
          <p:cNvSpPr txBox="1">
            <a:spLocks noGrp="1"/>
          </p:cNvSpPr>
          <p:nvPr>
            <p:ph type="body" idx="6"/>
          </p:nvPr>
        </p:nvSpPr>
        <p:spPr>
          <a:xfrm>
            <a:off x="8209567" y="2000240"/>
            <a:ext cx="3648000" cy="32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2" name="Google Shape;452;p56"/>
          <p:cNvSpPr txBox="1">
            <a:spLocks noGrp="1"/>
          </p:cNvSpPr>
          <p:nvPr>
            <p:ph type="body" idx="7"/>
          </p:nvPr>
        </p:nvSpPr>
        <p:spPr>
          <a:xfrm>
            <a:off x="480000" y="5315644"/>
            <a:ext cx="36480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3" name="Google Shape;453;p56"/>
          <p:cNvSpPr txBox="1">
            <a:spLocks noGrp="1"/>
          </p:cNvSpPr>
          <p:nvPr>
            <p:ph type="body" idx="8"/>
          </p:nvPr>
        </p:nvSpPr>
        <p:spPr>
          <a:xfrm>
            <a:off x="4344784" y="5315644"/>
            <a:ext cx="36480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4" name="Google Shape;454;p56"/>
          <p:cNvSpPr txBox="1">
            <a:spLocks noGrp="1"/>
          </p:cNvSpPr>
          <p:nvPr>
            <p:ph type="body" idx="9"/>
          </p:nvPr>
        </p:nvSpPr>
        <p:spPr>
          <a:xfrm>
            <a:off x="8209567" y="5315644"/>
            <a:ext cx="36480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3687654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1889172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35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35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1203133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1811244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3212031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291003866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4264047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29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4017018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29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28386918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5151804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79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2259177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блока с заголовками">
  <p:cSld name="два блока с заголовками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57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7" name="Google Shape;457;p57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8" name="Google Shape;458;p57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59" name="Google Shape;459;p57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60" name="Google Shape;460;p57"/>
          <p:cNvSpPr txBox="1">
            <a:spLocks noGrp="1"/>
          </p:cNvSpPr>
          <p:nvPr>
            <p:ph type="body" idx="1"/>
          </p:nvPr>
        </p:nvSpPr>
        <p:spPr>
          <a:xfrm>
            <a:off x="594709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1" name="Google Shape;461;p57"/>
          <p:cNvSpPr txBox="1">
            <a:spLocks noGrp="1"/>
          </p:cNvSpPr>
          <p:nvPr>
            <p:ph type="body" idx="2"/>
          </p:nvPr>
        </p:nvSpPr>
        <p:spPr>
          <a:xfrm>
            <a:off x="594708" y="2143117"/>
            <a:ext cx="5238800" cy="39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2" name="Google Shape;462;p57"/>
          <p:cNvSpPr txBox="1">
            <a:spLocks noGrp="1"/>
          </p:cNvSpPr>
          <p:nvPr>
            <p:ph type="body" idx="3"/>
          </p:nvPr>
        </p:nvSpPr>
        <p:spPr>
          <a:xfrm>
            <a:off x="6286503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3" name="Google Shape;463;p57"/>
          <p:cNvSpPr txBox="1">
            <a:spLocks noGrp="1"/>
          </p:cNvSpPr>
          <p:nvPr>
            <p:ph type="body" idx="4"/>
          </p:nvPr>
        </p:nvSpPr>
        <p:spPr>
          <a:xfrm>
            <a:off x="6286501" y="2143117"/>
            <a:ext cx="5238800" cy="39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300414584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82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23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08128417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193083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165529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23538066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3868717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0561657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31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31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45632446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5548305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5710992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33618568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ри (2+1) блока текста с заголовками">
  <p:cSld name="Три (2+1) блока текста с заголовками"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58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6" name="Google Shape;466;p58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7" name="Google Shape;467;p58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68" name="Google Shape;468;p58"/>
          <p:cNvSpPr txBox="1">
            <a:spLocks noGrp="1"/>
          </p:cNvSpPr>
          <p:nvPr>
            <p:ph type="body" idx="1"/>
          </p:nvPr>
        </p:nvSpPr>
        <p:spPr>
          <a:xfrm>
            <a:off x="594709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9" name="Google Shape;469;p58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70" name="Google Shape;470;p58"/>
          <p:cNvSpPr txBox="1">
            <a:spLocks noGrp="1"/>
          </p:cNvSpPr>
          <p:nvPr>
            <p:ph type="body" idx="2"/>
          </p:nvPr>
        </p:nvSpPr>
        <p:spPr>
          <a:xfrm>
            <a:off x="594708" y="2143117"/>
            <a:ext cx="52388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1" name="Google Shape;471;p58"/>
          <p:cNvSpPr txBox="1">
            <a:spLocks noGrp="1"/>
          </p:cNvSpPr>
          <p:nvPr>
            <p:ph type="body" idx="3"/>
          </p:nvPr>
        </p:nvSpPr>
        <p:spPr>
          <a:xfrm>
            <a:off x="6286503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2" name="Google Shape;472;p58"/>
          <p:cNvSpPr txBox="1">
            <a:spLocks noGrp="1"/>
          </p:cNvSpPr>
          <p:nvPr>
            <p:ph type="body" idx="4"/>
          </p:nvPr>
        </p:nvSpPr>
        <p:spPr>
          <a:xfrm>
            <a:off x="6286501" y="2143117"/>
            <a:ext cx="5238800" cy="39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3" name="Google Shape;473;p58"/>
          <p:cNvSpPr txBox="1">
            <a:spLocks noGrp="1"/>
          </p:cNvSpPr>
          <p:nvPr>
            <p:ph type="body" idx="5"/>
          </p:nvPr>
        </p:nvSpPr>
        <p:spPr>
          <a:xfrm>
            <a:off x="594709" y="3925895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4" name="Google Shape;474;p58"/>
          <p:cNvSpPr txBox="1">
            <a:spLocks noGrp="1"/>
          </p:cNvSpPr>
          <p:nvPr>
            <p:ph type="body" idx="6"/>
          </p:nvPr>
        </p:nvSpPr>
        <p:spPr>
          <a:xfrm>
            <a:off x="594708" y="4429133"/>
            <a:ext cx="5238800" cy="1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210425771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4765856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2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4802907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25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7946921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685849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75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4873735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78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19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7895130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50939720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479036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791546855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299378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ри (1+2) блока текста с заголовками">
  <p:cSld name="Три (1+2) блока текста с заголовками">
    <p:spTree>
      <p:nvGrpSpPr>
        <p:cNvPr id="1" name="Shape 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" name="Google Shape;476;p59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7" name="Google Shape;477;p59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8" name="Google Shape;478;p59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79" name="Google Shape;479;p59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80" name="Google Shape;480;p59"/>
          <p:cNvSpPr txBox="1">
            <a:spLocks noGrp="1"/>
          </p:cNvSpPr>
          <p:nvPr>
            <p:ph type="body" idx="1"/>
          </p:nvPr>
        </p:nvSpPr>
        <p:spPr>
          <a:xfrm>
            <a:off x="624419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1" name="Google Shape;481;p59"/>
          <p:cNvSpPr txBox="1">
            <a:spLocks noGrp="1"/>
          </p:cNvSpPr>
          <p:nvPr>
            <p:ph type="body" idx="2"/>
          </p:nvPr>
        </p:nvSpPr>
        <p:spPr>
          <a:xfrm>
            <a:off x="624417" y="2143116"/>
            <a:ext cx="5238800" cy="40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2" name="Google Shape;482;p59"/>
          <p:cNvSpPr txBox="1">
            <a:spLocks noGrp="1"/>
          </p:cNvSpPr>
          <p:nvPr>
            <p:ph type="body" idx="3"/>
          </p:nvPr>
        </p:nvSpPr>
        <p:spPr>
          <a:xfrm>
            <a:off x="6286503" y="1630368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3" name="Google Shape;483;p59"/>
          <p:cNvSpPr txBox="1">
            <a:spLocks noGrp="1"/>
          </p:cNvSpPr>
          <p:nvPr>
            <p:ph type="body" idx="4"/>
          </p:nvPr>
        </p:nvSpPr>
        <p:spPr>
          <a:xfrm>
            <a:off x="6286501" y="2143117"/>
            <a:ext cx="5238800" cy="1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4" name="Google Shape;484;p59"/>
          <p:cNvSpPr txBox="1">
            <a:spLocks noGrp="1"/>
          </p:cNvSpPr>
          <p:nvPr>
            <p:ph type="body" idx="5"/>
          </p:nvPr>
        </p:nvSpPr>
        <p:spPr>
          <a:xfrm>
            <a:off x="6286503" y="3929067"/>
            <a:ext cx="5233200" cy="43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440256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5" name="Google Shape;485;p59"/>
          <p:cNvSpPr txBox="1">
            <a:spLocks noGrp="1"/>
          </p:cNvSpPr>
          <p:nvPr>
            <p:ph type="body" idx="6"/>
          </p:nvPr>
        </p:nvSpPr>
        <p:spPr>
          <a:xfrm>
            <a:off x="6286501" y="4429133"/>
            <a:ext cx="5238800" cy="1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97923" algn="l" rtl="0">
              <a:lnSpc>
                <a:spcPct val="10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164488978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4530803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27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27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6369403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9943803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8736078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46628839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553639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21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9468910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21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1749959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6082840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71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495037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 слева">
  <p:cSld name="Объект с подписью слева">
    <p:spTree>
      <p:nvGrpSpPr>
        <p:cNvPr id="1" name="Shape 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Google Shape;487;p60"/>
          <p:cNvSpPr txBox="1">
            <a:spLocks noGrp="1"/>
          </p:cNvSpPr>
          <p:nvPr>
            <p:ph type="body" idx="1"/>
          </p:nvPr>
        </p:nvSpPr>
        <p:spPr>
          <a:xfrm>
            <a:off x="4766733" y="1857365"/>
            <a:ext cx="6815600" cy="4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507987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8" name="Google Shape;488;p60"/>
          <p:cNvSpPr txBox="1">
            <a:spLocks noGrp="1"/>
          </p:cNvSpPr>
          <p:nvPr>
            <p:ph type="body" idx="2"/>
          </p:nvPr>
        </p:nvSpPr>
        <p:spPr>
          <a:xfrm>
            <a:off x="609601" y="1857365"/>
            <a:ext cx="4011200" cy="4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9" name="Google Shape;489;p60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0" name="Google Shape;490;p60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1" name="Google Shape;491;p60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92" name="Google Shape;492;p60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372577407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12192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09985" y="5870874"/>
            <a:ext cx="4381531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1172" y="2286115"/>
            <a:ext cx="10189661" cy="2171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09174560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410100"/>
            <a:ext cx="9808659" cy="20904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21454251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4642714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2097" y="1214422"/>
            <a:ext cx="8667811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20386206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313573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6184249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623"/>
            <a:ext cx="5200648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623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61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82163329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98140921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7621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621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7621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7621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6516801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22683129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Рисунок с подписью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61"/>
          <p:cNvSpPr txBox="1">
            <a:spLocks noGrp="1"/>
          </p:cNvSpPr>
          <p:nvPr>
            <p:ph type="title"/>
          </p:nvPr>
        </p:nvSpPr>
        <p:spPr>
          <a:xfrm>
            <a:off x="2389717" y="4800600"/>
            <a:ext cx="7315200" cy="5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Calibri"/>
              <a:buNone/>
              <a:defRPr sz="2667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95" name="Google Shape;495;p61"/>
          <p:cNvSpPr>
            <a:spLocks noGrp="1"/>
          </p:cNvSpPr>
          <p:nvPr>
            <p:ph type="pic" idx="2"/>
          </p:nvPr>
        </p:nvSpPr>
        <p:spPr>
          <a:xfrm>
            <a:off x="2389717" y="1643051"/>
            <a:ext cx="7315200" cy="308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853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42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6" name="Google Shape;496;p61"/>
          <p:cNvSpPr txBox="1">
            <a:spLocks noGrp="1"/>
          </p:cNvSpPr>
          <p:nvPr>
            <p:ph type="body" idx="1"/>
          </p:nvPr>
        </p:nvSpPr>
        <p:spPr>
          <a:xfrm>
            <a:off x="2389717" y="5367337"/>
            <a:ext cx="7315200" cy="8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304792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7" name="Google Shape;497;p61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8" name="Google Shape;498;p61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9" name="Google Shape;499;p61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00" name="Google Shape;500;p61"/>
          <p:cNvSpPr txBox="1"/>
          <p:nvPr/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b" anchorCtr="0">
            <a:noAutofit/>
          </a:bodyPr>
          <a:lstStyle/>
          <a:p>
            <a:pPr>
              <a:buClr>
                <a:srgbClr val="000000"/>
              </a:buClr>
              <a:buSzPts val="2800"/>
              <a:buFont typeface="Arial"/>
              <a:buNone/>
            </a:pPr>
            <a:r>
              <a:rPr lang="ru-RU" sz="3733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Образец заголовка</a:t>
            </a:r>
            <a:endParaRPr sz="1867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0588011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40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36" y="1785926"/>
            <a:ext cx="5568951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718908" y="163036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73092" y="1639878"/>
            <a:ext cx="48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89345646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666713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6671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666713" y="435781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7324740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6671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66713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56" y="385762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357817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6448827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9302400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76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62"/>
            <a:ext cx="1168416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2446026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356054175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48526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51123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917335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49550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8390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889126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50574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00819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1169820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5159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164049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0420003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5262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05925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2090902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6621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20217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с социальными сетями">
  <p:cSld name="Синий с социальными сетями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Google Shape;502;p6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" name="Google Shape;503;p62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4" name="Google Shape;504;p62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5" name="Google Shape;505;p62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06" name="Google Shape;506;p62" descr="D:\Masha\черная пятница\!Фирменные стили и логотипы\!Российский учебник\презентация\для перезентации РУ\РУ-белый.png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2333599" y="605330"/>
            <a:ext cx="7524804" cy="1794149"/>
          </a:xfrm>
          <a:prstGeom prst="rect">
            <a:avLst/>
          </a:prstGeom>
          <a:noFill/>
          <a:ln>
            <a:noFill/>
          </a:ln>
        </p:spPr>
      </p:pic>
      <p:sp>
        <p:nvSpPr>
          <p:cNvPr id="507" name="Google Shape;507;p62"/>
          <p:cNvSpPr/>
          <p:nvPr/>
        </p:nvSpPr>
        <p:spPr>
          <a:xfrm>
            <a:off x="0" y="5473728"/>
            <a:ext cx="12192000" cy="1098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8" name="Google Shape;508;p62"/>
          <p:cNvSpPr txBox="1"/>
          <p:nvPr/>
        </p:nvSpPr>
        <p:spPr>
          <a:xfrm>
            <a:off x="3126277" y="5814516"/>
            <a:ext cx="6621200" cy="45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600"/>
              <a:buFont typeface="Arial"/>
              <a:buNone/>
            </a:pPr>
            <a:r>
              <a:rPr lang="ru-RU" sz="2133">
                <a:solidFill>
                  <a:srgbClr val="515151"/>
                </a:solidFill>
                <a:latin typeface="Calibri"/>
                <a:ea typeface="Calibri"/>
                <a:cs typeface="Calibri"/>
                <a:sym typeface="Calibri"/>
              </a:rPr>
              <a:t>ros.uchebnik	rosuchebnik	rosuchebnik</a:t>
            </a:r>
            <a:endParaRPr sz="2133">
              <a:solidFill>
                <a:srgbClr val="51515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09" name="Google Shape;509;p62" descr="C:\Users\zgonnik.m\Desktop\001.png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2639439" y="5765833"/>
            <a:ext cx="535524" cy="535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510" name="Google Shape;510;p62" descr="C:\Users\zgonnik.m\Desktop\002.png"/>
          <p:cNvPicPr preferRelativeResize="0"/>
          <p:nvPr/>
        </p:nvPicPr>
        <p:blipFill rotWithShape="1">
          <a:blip r:embed="rId4" cstate="print">
            <a:alphaModFix/>
          </a:blip>
          <a:srcRect/>
          <a:stretch/>
        </p:blipFill>
        <p:spPr>
          <a:xfrm>
            <a:off x="5024955" y="5765833"/>
            <a:ext cx="535524" cy="535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511" name="Google Shape;511;p62" descr="C:\Users\zgonnik.m\Desktop\003.png"/>
          <p:cNvPicPr preferRelativeResize="0"/>
          <p:nvPr/>
        </p:nvPicPr>
        <p:blipFill rotWithShape="1">
          <a:blip r:embed="rId5" cstate="print">
            <a:alphaModFix/>
          </a:blip>
          <a:srcRect/>
          <a:stretch/>
        </p:blipFill>
        <p:spPr>
          <a:xfrm>
            <a:off x="7459155" y="5765833"/>
            <a:ext cx="535524" cy="535524"/>
          </a:xfrm>
          <a:prstGeom prst="rect">
            <a:avLst/>
          </a:prstGeom>
          <a:noFill/>
          <a:ln>
            <a:noFill/>
          </a:ln>
        </p:spPr>
      </p:pic>
      <p:sp>
        <p:nvSpPr>
          <p:cNvPr id="512" name="Google Shape;512;p62"/>
          <p:cNvSpPr txBox="1">
            <a:spLocks noGrp="1"/>
          </p:cNvSpPr>
          <p:nvPr>
            <p:ph type="ctrTitle"/>
          </p:nvPr>
        </p:nvSpPr>
        <p:spPr>
          <a:xfrm>
            <a:off x="914400" y="2857496"/>
            <a:ext cx="10363200" cy="13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3733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513" name="Google Shape;513;p62"/>
          <p:cNvSpPr txBox="1">
            <a:spLocks noGrp="1"/>
          </p:cNvSpPr>
          <p:nvPr>
            <p:ph type="subTitle" idx="1"/>
          </p:nvPr>
        </p:nvSpPr>
        <p:spPr>
          <a:xfrm>
            <a:off x="1828800" y="4260863"/>
            <a:ext cx="8534400" cy="10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969696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969696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969696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41261715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8375242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53646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95319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0906453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54670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430953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55694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9514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356054175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57742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51123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917335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58766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8390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889126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59790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00819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1169820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60814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164049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0420003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6183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05925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8375242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62862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95319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0906453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63886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430953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10636654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65591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46090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64910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9514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2906994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70030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684503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9790758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71054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27943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47864759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7207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56047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3490626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7310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596596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7286314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7412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1891888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9899693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75150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99964583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13857412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76174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118138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77198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15109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27744657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80270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190126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86035342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66615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47466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751927726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81294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498122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74621737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8231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009154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8656612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8334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740418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9468491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8436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878696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50427568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85390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745929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3052404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86414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921988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87438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33085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7265173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89486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842044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14501723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90510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949993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36460033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91534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303139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13190217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67639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56799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96483779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9255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030841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19888213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9358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914868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44393656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94606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7280567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43668431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95630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167902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96654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78513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09133594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00750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1387136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529943473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01774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140642"/>
            <a:ext cx="11520000" cy="480863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67557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56205101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02798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385682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7730541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0382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06324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03631486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0484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25418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54447947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68663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37878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1389401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05870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61703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07108729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506894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93046886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825482499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07918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59827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57745734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09966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379684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22146990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10990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140642"/>
            <a:ext cx="11520000" cy="480863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14890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066175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12014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127025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9896878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1303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96976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5517235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1406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07008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75826113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1508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992468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1717148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516110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1652749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3822566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6968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455209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23588025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17134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062107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3352015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19182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658552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653932213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20206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140642"/>
            <a:ext cx="11520000" cy="480863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52164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2235329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21230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89911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70413232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22254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28247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417972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2327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49515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0117098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2430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15751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8900274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525326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6351155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7074808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26350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27780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24840973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31469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770058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26057458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370711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698965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80346166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32493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140642"/>
            <a:ext cx="11520000" cy="480863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939510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653567668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33517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86807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4840790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3454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632028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706518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3556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80134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4729709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36589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15558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26746378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537613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317801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8216393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38637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3204574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3106027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40685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004990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3028529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41709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140642"/>
            <a:ext cx="11520000" cy="480863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0578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174020616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42733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83365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062632690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71735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859830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70462713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4375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193364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0062509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4478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45398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29583590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4580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34694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158158400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546829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049535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0120482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47853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1924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72833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37969528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50919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230882"/>
            <a:ext cx="11520000" cy="471839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546334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72463385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51943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44622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39696526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5296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73305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601340553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55015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230882"/>
            <a:ext cx="11520000" cy="471839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buClr>
                <a:srgbClr val="2D3494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183140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12411864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556039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93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12012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72759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87297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59203007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557063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3353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2F096B-1574-4578-8EB5-9C370FBB477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662428526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8EDAE37-5C54-4955-AF31-B2C3CD20590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897745354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0974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561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E465A19-6CBB-4D25-97DE-98E9CAA260F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345087270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682BAA3-E600-48E4-A10A-DA72B960B95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824514339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F4DD9A-2DC0-401A-B2B8-DEC21530F5E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830331080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60BA8D-39D9-49F9-9F4E-0951122150A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496606827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B54B85-574F-40C7-8AA1-69EC22C1198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030447049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02E4D29-7CBC-42C4-9C72-23D549987B9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176703345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9BEBE5-5C08-45FB-B054-EAD4BD98384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5937474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67753952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74807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58605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0285E6-FDC1-422E-9A79-090B8CC5E24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987844495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9F734B5-76D4-47B9-A97D-4F207EDC227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759951883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1143000"/>
            <a:ext cx="7526867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>
            <a:spLocks noGrp="1"/>
          </p:cNvSpPr>
          <p:nvPr>
            <p:ph type="ctrTitle"/>
          </p:nvPr>
        </p:nvSpPr>
        <p:spPr>
          <a:xfrm>
            <a:off x="914400" y="2714624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429132"/>
            <a:ext cx="85344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1B0459-9B60-42F6-9746-CE2A5656352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BCF46A-40F9-4C20-AAE9-B6EB9E13D5B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905807479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5715000"/>
            <a:ext cx="12192000" cy="857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3" y="5870575"/>
            <a:ext cx="43815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191" y="2286000"/>
            <a:ext cx="10189633" cy="217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4F7DCE-086C-4597-B309-C8C153068D5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B202BBB-A699-4E0B-B095-FC046C3391E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935171395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1143000"/>
            <a:ext cx="7526867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715000"/>
            <a:ext cx="12192000" cy="857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7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3" y="5870575"/>
            <a:ext cx="43815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714624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429132"/>
            <a:ext cx="85344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FD38BC-DD4A-484F-965A-CD4311E8444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C94B26C-5989-4E61-84CC-C6939D0A2CD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226522943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691" y="2409825"/>
            <a:ext cx="9808633" cy="209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771674630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41193658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914400" y="2714624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429132"/>
            <a:ext cx="85344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4025CD-B07F-475F-B79C-F1235DE7FF3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39F3D4-342F-48B3-A730-DCEC5B56E44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642987880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50971-1C41-4BAB-85FC-BF8AB904D47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5DA21C-B966-4D31-B234-08957F01743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522565791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00" y="6143625"/>
            <a:ext cx="4191000" cy="6429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2" y="6276975"/>
            <a:ext cx="2476500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EE9D8-C662-4022-A2F5-4D364CA911B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024C759-CA31-4394-8596-791D0CED1E5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162964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9492727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67240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78201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61488948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75831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63486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00" y="6215063"/>
            <a:ext cx="4191000" cy="5000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5509BF-62A1-4083-A362-A2CBA54158F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C0B373F-C6E4-467F-B431-5EEF11C4795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710621475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381000" y="6143625"/>
            <a:ext cx="4191000" cy="6429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185" y="1214438"/>
            <a:ext cx="8492067" cy="150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3830651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C8DC65-3211-4D44-B85C-5E1B9F25EEC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475F65-40E7-4F89-BB89-47B95883872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584789644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381000" y="6000837"/>
            <a:ext cx="4191000" cy="7858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7"/>
            <a:ext cx="11684160" cy="60706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AC4C55-3870-4530-940B-4276696B118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3F8EC5D-CF43-48A1-B77F-10B8217E704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736556339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1526E6-F821-41A1-8E50-5C376C7C27E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B718411-B035-4C6D-98FD-56E73935A46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411769567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25" y="1535113"/>
            <a:ext cx="538903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25" y="2174875"/>
            <a:ext cx="5389033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3B72E-EECE-415E-93F9-8D2FD9E6D01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1CE82A4-AC6B-46D8-9175-113952D9F11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600908024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8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8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AA4C54-6CAC-4B06-80E0-B134DF83038F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E416EC6F-ADCB-420E-BFD8-9B6B55A917F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48165977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587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587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9" y="1785926"/>
            <a:ext cx="5281081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26"/>
            <a:ext cx="5238787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1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6613CC-0671-4222-AB1C-8ABF233AEE9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FC828E2E-C6EE-45D3-B252-994FCE3A4AB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99374458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4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4" y="178592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0" y="178592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4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4" y="407194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0" y="407194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0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2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2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5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4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49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21" name="Дата 3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918424-8107-4608-9BD5-30FC25631ED4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ижний колонтитул 4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3" name="Номер слайда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FD79E1DA-97D9-4CF9-84E1-DC6F5D08EB0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924305596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</p:nvPr>
        </p:nvSpPr>
        <p:spPr>
          <a:xfrm>
            <a:off x="624417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</p:nvPr>
        </p:nvSpPr>
        <p:spPr>
          <a:xfrm>
            <a:off x="624417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</p:nvPr>
        </p:nvSpPr>
        <p:spPr>
          <a:xfrm>
            <a:off x="6286501" y="2071678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</p:nvPr>
        </p:nvSpPr>
        <p:spPr>
          <a:xfrm>
            <a:off x="6286501" y="4357694"/>
            <a:ext cx="5429288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Дата 3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0DEC50-253E-436F-B7D4-1718224A792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омер слайда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43FD7C1E-107A-458A-9C04-3460DC651F2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111155979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Дата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14F122-8A95-4532-B743-56FC9C1CC93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Нижний колонтитул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/>
            </a:lvl1pPr>
          </a:lstStyle>
          <a:p>
            <a:fld id="{5DEF0EBB-CE81-4864-9C37-7FC25CC5851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1033094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64218526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7685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004211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36921E-583D-4378-B60D-5B77AF2F868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8BCB13B8-36E2-406F-AFF0-39A0648AEEA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576809668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7"/>
          <p:cNvSpPr>
            <a:spLocks noGrp="1"/>
          </p:cNvSpPr>
          <p:nvPr>
            <p:ph type="body" sz="quarter" idx="16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594712" y="3925894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220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C24B04-74B2-423F-8C42-B11C1ADB0F5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B2A40776-520D-45D6-A604-3EA3CA29EEA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40411143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442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/>
          </p:nvPr>
        </p:nvSpPr>
        <p:spPr>
          <a:xfrm>
            <a:off x="6286556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56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220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8EE8BF-2F2D-4662-8011-6AF2AD144E1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3DD1DA1D-82E3-44C7-ADA2-91D7B34CA0A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225683810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8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8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5F3D74-E290-471E-9F04-FE636E06AB2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22DEBC-DE10-45D2-980C-797978E9182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00650459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 userDrawn="1"/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/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800" smtClean="0">
                <a:solidFill>
                  <a:prstClr val="white"/>
                </a:solidFill>
                <a:latin typeface="Calibri" panose="020F0502020204030204" pitchFamily="34" charset="0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FC92C7-DD79-44B1-88CE-2BD59DE6D7F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607F59-8A88-4D44-A5B5-4D92C02ECDD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683631764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5715000"/>
            <a:ext cx="12192000" cy="857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>
                <a:solidFill>
                  <a:prstClr val="white"/>
                </a:solidFill>
              </a:rPr>
              <a:t> 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126320" y="5948450"/>
            <a:ext cx="6620933" cy="3381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1600" smtClean="0">
                <a:solidFill>
                  <a:prstClr val="black"/>
                </a:solidFill>
                <a:latin typeface="Calibri" panose="020F0502020204030204" pitchFamily="34" charset="0"/>
              </a:rPr>
              <a:t>ros.uchebnik</a:t>
            </a:r>
            <a:r>
              <a:rPr lang="ru-RU" altLang="ru-RU" sz="1600" smtClean="0">
                <a:solidFill>
                  <a:prstClr val="black"/>
                </a:solidFill>
                <a:latin typeface="Calibri" panose="020F0502020204030204" pitchFamily="34" charset="0"/>
              </a:rPr>
              <a:t>	</a:t>
            </a:r>
            <a:r>
              <a:rPr lang="en-US" altLang="ru-RU" sz="1600" smtClean="0">
                <a:solidFill>
                  <a:prstClr val="black"/>
                </a:solidFill>
                <a:latin typeface="Calibri" panose="020F0502020204030204" pitchFamily="34" charset="0"/>
              </a:rPr>
              <a:t>rosuchebnik</a:t>
            </a:r>
            <a:r>
              <a:rPr lang="ru-RU" altLang="ru-RU" sz="1600" smtClean="0">
                <a:solidFill>
                  <a:prstClr val="black"/>
                </a:solidFill>
                <a:latin typeface="Calibri" panose="020F0502020204030204" pitchFamily="34" charset="0"/>
              </a:rPr>
              <a:t>	</a:t>
            </a:r>
            <a:r>
              <a:rPr lang="en-US" altLang="ru-RU" sz="1600" smtClean="0">
                <a:solidFill>
                  <a:prstClr val="black"/>
                </a:solidFill>
                <a:latin typeface="Calibri" panose="020F0502020204030204" pitchFamily="34" charset="0"/>
              </a:rPr>
              <a:t>rosuchebnik</a:t>
            </a:r>
            <a:endParaRPr lang="ru-RU" altLang="ru-RU" sz="1600" smtClean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1143000"/>
            <a:ext cx="7526867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487" y="5911850"/>
            <a:ext cx="535516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968" y="5911850"/>
            <a:ext cx="535517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136" y="5911850"/>
            <a:ext cx="535517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>
            <a:spLocks noGrp="1"/>
          </p:cNvSpPr>
          <p:nvPr>
            <p:ph type="ctrTitle"/>
          </p:nvPr>
        </p:nvSpPr>
        <p:spPr>
          <a:xfrm>
            <a:off x="914400" y="2714624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429132"/>
            <a:ext cx="85344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3AEF16-A4E0-4E81-B0F5-92B73357BAF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91B174-4655-4C5E-8599-9C3E0B1277A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309545711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1196977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069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1CF39E0-CE30-4E60-BC34-3FF6B56C9434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9E327E6D-D27E-4D35-AAF0-CC646474383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215960994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669" y="1196975"/>
            <a:ext cx="9660467" cy="230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1" y="5669006"/>
            <a:ext cx="40894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D09775E-8A41-4E39-83B7-E5AF09D30FAD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C78D1AE-9922-4D45-B5AD-529B50D9FD9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08349875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26988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849315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7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1" y="5669006"/>
            <a:ext cx="40894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172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A562487-96CD-4448-8C6E-C00609FD5408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9E726D64-5B6A-4ACB-945C-81C7DC19BE0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285097784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691" y="2163763"/>
            <a:ext cx="9808633" cy="278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7641292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9335680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77879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185930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11133926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84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48A0541-9F51-4D7F-BF64-34E0ABFE30A1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6F259510-8BFB-4630-A366-CD15908EC7B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012140768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2957775-4F04-4217-836B-0E57FC1C4320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80E6488-13A3-4092-A328-48EDF45D48B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076388271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12" y="6286500"/>
            <a:ext cx="3333751" cy="5032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1" y="6269038"/>
            <a:ext cx="20955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709BF12-E6A0-4B25-A5AA-D8EC444D8CE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63F32C67-4862-402F-A8A0-A5B6C5F8958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49482047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00" y="6096043"/>
            <a:ext cx="4191000" cy="7143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5F9A326-60AC-4364-B24C-911F01B14A3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1F008B5F-7249-4D8E-84F0-92001D76584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174781262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381000" y="6286543"/>
            <a:ext cx="4191000" cy="5000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069" y="1619250"/>
            <a:ext cx="7907867" cy="186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7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18AAEC4-AEA6-43A4-BC8D-A9BAA559FD3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649FF87D-2736-4940-9556-14B38990E99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406837400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285751" y="6262688"/>
            <a:ext cx="4191000" cy="5000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9"/>
            <a:ext cx="11684160" cy="59754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8329549-1ED0-4FF4-920E-9524CC5D2206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2B122249-AE5B-4877-B07F-48927A6C035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492135503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30B6031-C094-4653-97F1-8B1B8DA32B60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4E408623-4C57-4DCC-ACB7-7A254C2F634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802688424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08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08" y="2174875"/>
            <a:ext cx="5389033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8B92A1C-95BB-4E8A-9680-B46A9789BCB5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F9C34BA-0599-4C47-AC5C-ADEDAC6D2AD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24258356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9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9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Дата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9196A22-2044-4EAD-A7B3-FAD1D3E779D5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9" name="Нижний колонтитул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F70BB2E-F37F-4AF0-ACBE-E6329DC89AD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1833142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6316300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78903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289538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560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560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27" y="1785936"/>
            <a:ext cx="5281081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6"/>
            <a:ext cx="5238787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1" name="Дата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15AA9C0-C7E5-41C8-9C61-DE0B376A233D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71249B91-4FF0-46E8-A9CF-15C59EE2EAD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711663074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5" y="1785934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34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5" y="4071958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58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34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34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58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58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1" name="Дата 1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76462D7-F51A-49FE-B551-C191B5AB107B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22" name="Нижний колонтитул 2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3" name="Номер слайда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1DCA987E-2AC9-44C9-A0BD-2971EA7D05E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840062960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</p:nvPr>
        </p:nvSpPr>
        <p:spPr>
          <a:xfrm>
            <a:off x="624417" y="2071683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</p:nvPr>
        </p:nvSpPr>
        <p:spPr>
          <a:xfrm>
            <a:off x="624417" y="4357751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</p:nvPr>
        </p:nvSpPr>
        <p:spPr>
          <a:xfrm>
            <a:off x="6286501" y="2071683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</p:nvPr>
        </p:nvSpPr>
        <p:spPr>
          <a:xfrm>
            <a:off x="6286501" y="4357751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Дата 2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7702F9D-C7FA-4B41-87F8-3493D481FE5E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омер слайда 4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E05D956B-C8D6-47D7-9FC4-E4081FA5621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740748256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Дата 2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3944DA7-6C4D-4163-945E-C28CAFE8B693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6" name="Нижний колонтитул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" name="Номер слайда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4AEC608-3A93-4435-BBF6-74A93BCB22C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899343576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4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B84841E-6BE6-4EF3-BA32-FF338BB4490F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B644A494-8B7D-426F-AE71-F898252EC0D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247443151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7"/>
          <p:cNvSpPr>
            <a:spLocks noGrp="1"/>
          </p:cNvSpPr>
          <p:nvPr>
            <p:ph type="body" sz="quarter" idx="16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175"/>
            <a:ext cx="5238787" cy="16430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8654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192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800A293-DD24-4C98-B443-59228E695398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BCA093CA-CD04-4959-B900-1AA69A689D0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055338750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4428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/>
          </p:nvPr>
        </p:nvSpPr>
        <p:spPr>
          <a:xfrm>
            <a:off x="628654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75"/>
            <a:ext cx="5238787" cy="16430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42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192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4E23290-3774-436F-BB9B-4DC5A206888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7030FFF1-CFB6-40DD-9E8D-71266867352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4266121499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9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9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F71EA0B-77A8-48E1-A8CB-CF378B3B7621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141D3ADF-5868-48D1-BAC6-620ED1D1C36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438440077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 userDrawn="1"/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800" smtClean="0">
                <a:solidFill>
                  <a:srgbClr val="FFFFFF"/>
                </a:solidFill>
                <a:latin typeface="Calibri" pitchFamily="34" charset="0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58"/>
            <a:ext cx="7315200" cy="566739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96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533C199-4932-4C7C-9754-8F249396875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0913AC30-3CE3-4F69-9718-33B7F219D8A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844957362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9" y="604842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7" name="TextBox 11"/>
          <p:cNvSpPr txBox="1">
            <a:spLocks noChangeArrowheads="1"/>
          </p:cNvSpPr>
          <p:nvPr userDrawn="1"/>
        </p:nvSpPr>
        <p:spPr bwMode="auto">
          <a:xfrm>
            <a:off x="3126320" y="5815056"/>
            <a:ext cx="662093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.uchebnik</a:t>
            </a:r>
            <a:r>
              <a:rPr lang="ru-RU" altLang="ru-RU" sz="1600" smtClean="0">
                <a:solidFill>
                  <a:srgbClr val="515151"/>
                </a:solidFill>
                <a:latin typeface="Calibri" pitchFamily="34" charset="0"/>
              </a:rPr>
              <a:t>	</a:t>
            </a: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uchebnik</a:t>
            </a:r>
            <a:r>
              <a:rPr lang="ru-RU" altLang="ru-RU" sz="1600" smtClean="0">
                <a:solidFill>
                  <a:srgbClr val="515151"/>
                </a:solidFill>
                <a:latin typeface="Calibri" pitchFamily="34" charset="0"/>
              </a:rPr>
              <a:t>	</a:t>
            </a: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uchebnik</a:t>
            </a:r>
            <a:endParaRPr lang="ru-RU" altLang="ru-RU" sz="1600" smtClean="0">
              <a:solidFill>
                <a:srgbClr val="515151"/>
              </a:solidFill>
              <a:latin typeface="Calibri" pitchFamily="34" charset="0"/>
            </a:endParaRPr>
          </a:p>
        </p:txBody>
      </p:sp>
      <p:pic>
        <p:nvPicPr>
          <p:cNvPr id="8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487" y="5765800"/>
            <a:ext cx="535516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968" y="5765800"/>
            <a:ext cx="535517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136" y="5765800"/>
            <a:ext cx="535517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921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C2955DA-9F8E-4891-B2A6-524222EA9E7D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55D4DB06-81A3-484C-90E2-6C740F91AD7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1280000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86035934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379927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1757128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1_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06;p39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 charset="0"/>
              <a:buNone/>
            </a:pPr>
            <a:endParaRPr lang="ru-RU" altLang="ru-RU" smtClean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25896716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7" y="1196976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027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ACA9B67-FB94-4736-87FC-BD0D599B31B4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01622F61-514D-473D-81B4-5EF44B96D36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4199498401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667" y="1196975"/>
            <a:ext cx="9660467" cy="230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1" y="5668964"/>
            <a:ext cx="40894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7B31974-29CD-4BA3-AB36-962BD9B5E911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91FE3F7-007E-4C98-9FAA-AB0CB59933C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0744563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26988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7" y="849314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7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1" y="5668964"/>
            <a:ext cx="40894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130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7E8EF46-6B50-435F-8C87-BB05CB03B350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2594DD27-EF65-4E8F-A3D8-C5B7C3A30D5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97035343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685" y="2163763"/>
            <a:ext cx="9808633" cy="278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575281649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53845568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3E49E04-8365-453F-99C0-74844F50DED3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9CC783E5-FB22-46AC-84A9-035E3EDF0B1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041242275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13593D5-FFEA-4BAB-9971-C6268EC0D196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69C5785-C770-4AF0-B40E-5F7D141B70F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921150545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01" y="6286500"/>
            <a:ext cx="3333751" cy="5032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1" y="6269038"/>
            <a:ext cx="20955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55B0993-9878-4386-88FD-3B0F99F56CBC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1558BCF-7664-4067-84AF-9B270D21CF2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4274378126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00" y="6096001"/>
            <a:ext cx="4191000" cy="7143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AC62FB8-BB60-4168-8953-4897BE1E4264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7B312400-B906-4A32-B308-945D3951EF4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82952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858723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80951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1369828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381000" y="6286501"/>
            <a:ext cx="4191000" cy="5000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067" y="1619250"/>
            <a:ext cx="7907867" cy="186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7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64089AC-0248-4A62-8B82-03F5514C4C6F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DE10FC01-58AD-4E80-AE1A-16B011C3A3B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27982046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285751" y="6262688"/>
            <a:ext cx="4191000" cy="5000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9"/>
            <a:ext cx="11684160" cy="59754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70A6D00-5697-4034-9F98-81E9CAC492ED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4D28DB77-450E-4677-ADE7-79BC4E146B4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55932648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F703ACB-A930-458B-9AD7-5EADBF2EF431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DE75B68-F37D-45B8-8B6E-41CBC58152C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526699114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80" y="1535117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80" y="2174875"/>
            <a:ext cx="5389033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BEEDBF9-D739-42CA-A4DB-64985A10519B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33F39681-9671-439F-80DA-6C0C8F9CD35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310459941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9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9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Дата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5B153A8-FAFC-4055-A324-A830132E81BB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9" name="Нижний колонтитул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6D52A08-E8A7-45D5-AD21-567844024A3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650203964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4508518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3" y="4508518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21" y="1785933"/>
            <a:ext cx="5281081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3" y="1785933"/>
            <a:ext cx="5238787" cy="242889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1" name="Дата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554F576-921D-4E00-B207-EA4E356901B5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E9A77556-5A29-463D-83EA-29466877967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804634749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5" y="178593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3" y="178593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5" y="407195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3" y="407195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5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5" y="178593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3" y="178593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5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5" y="407195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3" y="4071951"/>
            <a:ext cx="2381267" cy="1190633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1" name="Дата 1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A2CFDD8-0BEE-43D2-BE5A-132285223919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22" name="Нижний колонтитул 2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3" name="Номер слайда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6B64EA17-8CAD-4411-AE6D-FD9B861FAC8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601866877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</p:nvPr>
        </p:nvSpPr>
        <p:spPr>
          <a:xfrm>
            <a:off x="624417" y="2071680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</p:nvPr>
        </p:nvSpPr>
        <p:spPr>
          <a:xfrm>
            <a:off x="624417" y="4357709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</p:nvPr>
        </p:nvSpPr>
        <p:spPr>
          <a:xfrm>
            <a:off x="6286501" y="2071680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</p:nvPr>
        </p:nvSpPr>
        <p:spPr>
          <a:xfrm>
            <a:off x="6286501" y="4357709"/>
            <a:ext cx="5429288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Дата 2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84B72FB-2240-465B-8B50-027F46A046F5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омер слайда 4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89DBABA4-7CA0-4D99-A6C5-3E667529F51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258032176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Дата 2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ADEBD9E-CE0F-47EA-8F07-5E2E5ADF8291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6" name="Нижний колонтитул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" name="Номер слайда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E167C57C-1806-4583-90C7-464FF87F0DA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950315418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9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14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95E1FD9-4EC3-426D-9ACE-31B162E17282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B3F31828-DABE-4B09-A8AB-39CA11E081B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6688722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81975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50611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7"/>
          <p:cNvSpPr>
            <a:spLocks noGrp="1"/>
          </p:cNvSpPr>
          <p:nvPr>
            <p:ph type="body" sz="quarter" idx="16"/>
          </p:nvPr>
        </p:nvSpPr>
        <p:spPr>
          <a:xfrm>
            <a:off x="59471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9" y="2143133"/>
            <a:ext cx="5238787" cy="16430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86514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24"/>
            <a:ext cx="5238787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/>
          </p:nvPr>
        </p:nvSpPr>
        <p:spPr>
          <a:xfrm>
            <a:off x="594712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9" y="4429150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4CDDBD6-3820-471F-9A07-C4A0CEF9E547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AB65867A-3896-4076-8CDC-BE83D54F59C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647126030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/>
          </p:nvPr>
        </p:nvSpPr>
        <p:spPr>
          <a:xfrm>
            <a:off x="624422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/>
          </p:nvPr>
        </p:nvSpPr>
        <p:spPr>
          <a:xfrm>
            <a:off x="6286514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33"/>
            <a:ext cx="5238787" cy="16430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/>
          </p:nvPr>
        </p:nvSpPr>
        <p:spPr>
          <a:xfrm>
            <a:off x="6286514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lIns="36000" tIns="36000" rIns="36000" bIns="36000" rtlCol="0" anchor="ctr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150"/>
            <a:ext cx="5238787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813C176-FD96-421B-9BF8-59FE91ABEC0A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C364EADE-165B-41F0-8274-8C794B26DAA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897706756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9"/>
            <a:ext cx="6815667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857369"/>
            <a:ext cx="4011084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6951471-506E-4D7C-901A-2122A189884A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5B4C4BCF-E1B0-4643-913A-009F6E406E3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97694429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 userDrawn="1"/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800" smtClean="0">
                <a:solidFill>
                  <a:srgbClr val="FFFFFF"/>
                </a:solidFill>
                <a:latin typeface="Calibri" pitchFamily="34" charset="0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16"/>
            <a:ext cx="7315200" cy="566739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54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DED0109-8857-4BE8-85A6-4E168D7C8C8A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7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DD4EE153-FCDF-4F80-8C69-0BA6E2E5201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618097442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7" y="604839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7" name="TextBox 11"/>
          <p:cNvSpPr txBox="1">
            <a:spLocks noChangeArrowheads="1"/>
          </p:cNvSpPr>
          <p:nvPr userDrawn="1"/>
        </p:nvSpPr>
        <p:spPr bwMode="auto">
          <a:xfrm>
            <a:off x="3126318" y="5815014"/>
            <a:ext cx="662093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.uchebnik</a:t>
            </a:r>
            <a:r>
              <a:rPr lang="ru-RU" altLang="ru-RU" sz="1600" smtClean="0">
                <a:solidFill>
                  <a:srgbClr val="515151"/>
                </a:solidFill>
                <a:latin typeface="Calibri" pitchFamily="34" charset="0"/>
              </a:rPr>
              <a:t>	</a:t>
            </a: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uchebnik</a:t>
            </a:r>
            <a:r>
              <a:rPr lang="ru-RU" altLang="ru-RU" sz="1600" smtClean="0">
                <a:solidFill>
                  <a:srgbClr val="515151"/>
                </a:solidFill>
                <a:latin typeface="Calibri" pitchFamily="34" charset="0"/>
              </a:rPr>
              <a:t>	</a:t>
            </a:r>
            <a:r>
              <a:rPr lang="en-US" altLang="ru-RU" sz="1600" smtClean="0">
                <a:solidFill>
                  <a:srgbClr val="515151"/>
                </a:solidFill>
                <a:latin typeface="Calibri" pitchFamily="34" charset="0"/>
              </a:rPr>
              <a:t>rosuchebnik</a:t>
            </a:r>
            <a:endParaRPr lang="ru-RU" altLang="ru-RU" sz="1600" smtClean="0">
              <a:solidFill>
                <a:srgbClr val="515151"/>
              </a:solidFill>
              <a:latin typeface="Calibri" pitchFamily="34" charset="0"/>
            </a:endParaRPr>
          </a:p>
        </p:txBody>
      </p:sp>
      <p:pic>
        <p:nvPicPr>
          <p:cNvPr id="8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485" y="5765800"/>
            <a:ext cx="535516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967" y="5765800"/>
            <a:ext cx="535517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134" y="5765800"/>
            <a:ext cx="535517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879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3DAC242-98D7-4A18-94A5-4D6CE62611B3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3B428DED-95B2-45B8-A4AB-15CB34EA91D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214434591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1_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06;p39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 charset="0"/>
              <a:buNone/>
            </a:pPr>
            <a:endParaRPr lang="ru-RU" altLang="ru-RU" smtClean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031306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07212250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84023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2098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59636735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85047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54812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62424693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8607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614738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026483181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68264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825447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6027940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8709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011789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4509973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88119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64145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09776485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389143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5337123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754155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90167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3135861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91191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41720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896688296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93239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78715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7359766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394263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952177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2999320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9528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3672986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77195544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9631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17614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31355079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39733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497110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14528497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128647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041366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18055488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398359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5187018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70858484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99383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60160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00407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22172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11429565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02455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92403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1293778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03479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524398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05233039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04503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454288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58332184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0552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696992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58882166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0655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71581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94767822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07575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22345294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22188908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08599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1488348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5295282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01260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442353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09623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29931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60478371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13719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420227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64740700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14743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61181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7435748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1576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2584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507568980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1679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75798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50774384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1781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580823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64403936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18839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637348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48115817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19863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2985663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20887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57070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2139404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22935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92394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26988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567" y="849314"/>
            <a:ext cx="7526867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>
          <a:xfrm>
            <a:off x="0" y="5473700"/>
            <a:ext cx="12192000" cy="109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7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1" y="5668964"/>
            <a:ext cx="40894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130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7E8EF46-6B50-435F-8C87-BB05CB03B350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" charset="0"/>
              </a:defRPr>
            </a:lvl1pPr>
          </a:lstStyle>
          <a:p>
            <a:fld id="{2594DD27-EF65-4E8F-A3D8-C5B7C3A30D5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97035343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27155732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23959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105752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79943182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24983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34343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56058367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26007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469482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8396927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2703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18972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61684549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28055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011456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76551582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29079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681504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30103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3822730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649940859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32150" name="think-cell Slide" r:id="rId3" imgW="416" imgH="416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44774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13941421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p:oleObj spid="_x0000_s433174" name="think-cell Slide" r:id="rId3" imgW="416" imgH="416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301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6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151749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326628346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3419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52577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иний пустой">
  <p:cSld name="Синий пустой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3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470296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68860371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3522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703128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03891538"/>
              </p:ext>
            </p:extLst>
          </p:nvPr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3624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969933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64802541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37270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651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19731235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86952351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38294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60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="" xmlns:p14="http://schemas.microsoft.com/office/powerpoint/2010/main" val="1356978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92" y="1592"/>
          <a:ext cx="3175" cy="1587"/>
        </p:xfrm>
        <a:graphic>
          <a:graphicData uri="http://schemas.openxmlformats.org/presentationml/2006/ole">
            <p:oleObj spid="_x0000_s439318" name="think-cell Slide" r:id="rId3" imgW="360" imgH="360" progId="">
              <p:embed/>
            </p:oleObj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52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76623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113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1196697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77327326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1" y="1196697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66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19375739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601" y="848750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75" y="5668566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216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5993338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3" y="2163220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03406220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6342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oleObject" Target="../embeddings/oleObject72.bin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tags" Target="../tags/tag34.xml"/><Relationship Id="rId5" Type="http://schemas.openxmlformats.org/officeDocument/2006/relationships/slideLayout" Target="../slideLayouts/slideLayout91.xml"/><Relationship Id="rId10" Type="http://schemas.openxmlformats.org/officeDocument/2006/relationships/vmlDrawing" Target="../drawings/vmlDrawing72.vml"/><Relationship Id="rId4" Type="http://schemas.openxmlformats.org/officeDocument/2006/relationships/slideLayout" Target="../slideLayouts/slideLayout90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theme" Target="../theme/theme1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/Relationships>
</file>

<file path=ppt/slideMasters/_rels/slideMaster1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4.xml"/><Relationship Id="rId117" Type="http://schemas.openxmlformats.org/officeDocument/2006/relationships/slideLayout" Target="../slideLayouts/slideLayout235.xml"/><Relationship Id="rId21" Type="http://schemas.openxmlformats.org/officeDocument/2006/relationships/slideLayout" Target="../slideLayouts/slideLayout139.xml"/><Relationship Id="rId42" Type="http://schemas.openxmlformats.org/officeDocument/2006/relationships/slideLayout" Target="../slideLayouts/slideLayout160.xml"/><Relationship Id="rId47" Type="http://schemas.openxmlformats.org/officeDocument/2006/relationships/slideLayout" Target="../slideLayouts/slideLayout165.xml"/><Relationship Id="rId63" Type="http://schemas.openxmlformats.org/officeDocument/2006/relationships/slideLayout" Target="../slideLayouts/slideLayout181.xml"/><Relationship Id="rId68" Type="http://schemas.openxmlformats.org/officeDocument/2006/relationships/slideLayout" Target="../slideLayouts/slideLayout186.xml"/><Relationship Id="rId84" Type="http://schemas.openxmlformats.org/officeDocument/2006/relationships/slideLayout" Target="../slideLayouts/slideLayout202.xml"/><Relationship Id="rId89" Type="http://schemas.openxmlformats.org/officeDocument/2006/relationships/slideLayout" Target="../slideLayouts/slideLayout207.xml"/><Relationship Id="rId112" Type="http://schemas.openxmlformats.org/officeDocument/2006/relationships/slideLayout" Target="../slideLayouts/slideLayout230.xml"/><Relationship Id="rId133" Type="http://schemas.openxmlformats.org/officeDocument/2006/relationships/slideLayout" Target="../slideLayouts/slideLayout251.xml"/><Relationship Id="rId138" Type="http://schemas.openxmlformats.org/officeDocument/2006/relationships/slideLayout" Target="../slideLayouts/slideLayout256.xml"/><Relationship Id="rId154" Type="http://schemas.openxmlformats.org/officeDocument/2006/relationships/slideLayout" Target="../slideLayouts/slideLayout272.xml"/><Relationship Id="rId159" Type="http://schemas.openxmlformats.org/officeDocument/2006/relationships/slideLayout" Target="../slideLayouts/slideLayout277.xml"/><Relationship Id="rId175" Type="http://schemas.openxmlformats.org/officeDocument/2006/relationships/slideLayout" Target="../slideLayouts/slideLayout293.xml"/><Relationship Id="rId170" Type="http://schemas.openxmlformats.org/officeDocument/2006/relationships/slideLayout" Target="../slideLayouts/slideLayout288.xml"/><Relationship Id="rId16" Type="http://schemas.openxmlformats.org/officeDocument/2006/relationships/slideLayout" Target="../slideLayouts/slideLayout134.xml"/><Relationship Id="rId107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50.xml"/><Relationship Id="rId37" Type="http://schemas.openxmlformats.org/officeDocument/2006/relationships/slideLayout" Target="../slideLayouts/slideLayout155.xml"/><Relationship Id="rId53" Type="http://schemas.openxmlformats.org/officeDocument/2006/relationships/slideLayout" Target="../slideLayouts/slideLayout171.xml"/><Relationship Id="rId58" Type="http://schemas.openxmlformats.org/officeDocument/2006/relationships/slideLayout" Target="../slideLayouts/slideLayout176.xml"/><Relationship Id="rId74" Type="http://schemas.openxmlformats.org/officeDocument/2006/relationships/slideLayout" Target="../slideLayouts/slideLayout192.xml"/><Relationship Id="rId79" Type="http://schemas.openxmlformats.org/officeDocument/2006/relationships/slideLayout" Target="../slideLayouts/slideLayout197.xml"/><Relationship Id="rId102" Type="http://schemas.openxmlformats.org/officeDocument/2006/relationships/slideLayout" Target="../slideLayouts/slideLayout220.xml"/><Relationship Id="rId123" Type="http://schemas.openxmlformats.org/officeDocument/2006/relationships/slideLayout" Target="../slideLayouts/slideLayout241.xml"/><Relationship Id="rId128" Type="http://schemas.openxmlformats.org/officeDocument/2006/relationships/slideLayout" Target="../slideLayouts/slideLayout246.xml"/><Relationship Id="rId144" Type="http://schemas.openxmlformats.org/officeDocument/2006/relationships/slideLayout" Target="../slideLayouts/slideLayout262.xml"/><Relationship Id="rId149" Type="http://schemas.openxmlformats.org/officeDocument/2006/relationships/slideLayout" Target="../slideLayouts/slideLayout267.xml"/><Relationship Id="rId5" Type="http://schemas.openxmlformats.org/officeDocument/2006/relationships/slideLayout" Target="../slideLayouts/slideLayout123.xml"/><Relationship Id="rId90" Type="http://schemas.openxmlformats.org/officeDocument/2006/relationships/slideLayout" Target="../slideLayouts/slideLayout208.xml"/><Relationship Id="rId95" Type="http://schemas.openxmlformats.org/officeDocument/2006/relationships/slideLayout" Target="../slideLayouts/slideLayout213.xml"/><Relationship Id="rId160" Type="http://schemas.openxmlformats.org/officeDocument/2006/relationships/slideLayout" Target="../slideLayouts/slideLayout278.xml"/><Relationship Id="rId165" Type="http://schemas.openxmlformats.org/officeDocument/2006/relationships/slideLayout" Target="../slideLayouts/slideLayout283.xml"/><Relationship Id="rId22" Type="http://schemas.openxmlformats.org/officeDocument/2006/relationships/slideLayout" Target="../slideLayouts/slideLayout140.xml"/><Relationship Id="rId27" Type="http://schemas.openxmlformats.org/officeDocument/2006/relationships/slideLayout" Target="../slideLayouts/slideLayout145.xml"/><Relationship Id="rId43" Type="http://schemas.openxmlformats.org/officeDocument/2006/relationships/slideLayout" Target="../slideLayouts/slideLayout161.xml"/><Relationship Id="rId48" Type="http://schemas.openxmlformats.org/officeDocument/2006/relationships/slideLayout" Target="../slideLayouts/slideLayout166.xml"/><Relationship Id="rId64" Type="http://schemas.openxmlformats.org/officeDocument/2006/relationships/slideLayout" Target="../slideLayouts/slideLayout182.xml"/><Relationship Id="rId69" Type="http://schemas.openxmlformats.org/officeDocument/2006/relationships/slideLayout" Target="../slideLayouts/slideLayout187.xml"/><Relationship Id="rId113" Type="http://schemas.openxmlformats.org/officeDocument/2006/relationships/slideLayout" Target="../slideLayouts/slideLayout231.xml"/><Relationship Id="rId118" Type="http://schemas.openxmlformats.org/officeDocument/2006/relationships/slideLayout" Target="../slideLayouts/slideLayout236.xml"/><Relationship Id="rId134" Type="http://schemas.openxmlformats.org/officeDocument/2006/relationships/slideLayout" Target="../slideLayouts/slideLayout252.xml"/><Relationship Id="rId139" Type="http://schemas.openxmlformats.org/officeDocument/2006/relationships/slideLayout" Target="../slideLayouts/slideLayout257.xml"/><Relationship Id="rId80" Type="http://schemas.openxmlformats.org/officeDocument/2006/relationships/slideLayout" Target="../slideLayouts/slideLayout198.xml"/><Relationship Id="rId85" Type="http://schemas.openxmlformats.org/officeDocument/2006/relationships/slideLayout" Target="../slideLayouts/slideLayout203.xml"/><Relationship Id="rId150" Type="http://schemas.openxmlformats.org/officeDocument/2006/relationships/slideLayout" Target="../slideLayouts/slideLayout268.xml"/><Relationship Id="rId155" Type="http://schemas.openxmlformats.org/officeDocument/2006/relationships/slideLayout" Target="../slideLayouts/slideLayout273.xml"/><Relationship Id="rId171" Type="http://schemas.openxmlformats.org/officeDocument/2006/relationships/slideLayout" Target="../slideLayouts/slideLayout289.xml"/><Relationship Id="rId176" Type="http://schemas.openxmlformats.org/officeDocument/2006/relationships/slideLayout" Target="../slideLayouts/slideLayout294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51.xml"/><Relationship Id="rId38" Type="http://schemas.openxmlformats.org/officeDocument/2006/relationships/slideLayout" Target="../slideLayouts/slideLayout156.xml"/><Relationship Id="rId59" Type="http://schemas.openxmlformats.org/officeDocument/2006/relationships/slideLayout" Target="../slideLayouts/slideLayout177.xml"/><Relationship Id="rId103" Type="http://schemas.openxmlformats.org/officeDocument/2006/relationships/slideLayout" Target="../slideLayouts/slideLayout221.xml"/><Relationship Id="rId108" Type="http://schemas.openxmlformats.org/officeDocument/2006/relationships/slideLayout" Target="../slideLayouts/slideLayout226.xml"/><Relationship Id="rId124" Type="http://schemas.openxmlformats.org/officeDocument/2006/relationships/slideLayout" Target="../slideLayouts/slideLayout242.xml"/><Relationship Id="rId129" Type="http://schemas.openxmlformats.org/officeDocument/2006/relationships/slideLayout" Target="../slideLayouts/slideLayout247.xml"/><Relationship Id="rId54" Type="http://schemas.openxmlformats.org/officeDocument/2006/relationships/slideLayout" Target="../slideLayouts/slideLayout172.xml"/><Relationship Id="rId70" Type="http://schemas.openxmlformats.org/officeDocument/2006/relationships/slideLayout" Target="../slideLayouts/slideLayout188.xml"/><Relationship Id="rId75" Type="http://schemas.openxmlformats.org/officeDocument/2006/relationships/slideLayout" Target="../slideLayouts/slideLayout193.xml"/><Relationship Id="rId91" Type="http://schemas.openxmlformats.org/officeDocument/2006/relationships/slideLayout" Target="../slideLayouts/slideLayout209.xml"/><Relationship Id="rId96" Type="http://schemas.openxmlformats.org/officeDocument/2006/relationships/slideLayout" Target="../slideLayouts/slideLayout214.xml"/><Relationship Id="rId140" Type="http://schemas.openxmlformats.org/officeDocument/2006/relationships/slideLayout" Target="../slideLayouts/slideLayout258.xml"/><Relationship Id="rId145" Type="http://schemas.openxmlformats.org/officeDocument/2006/relationships/slideLayout" Target="../slideLayouts/slideLayout263.xml"/><Relationship Id="rId161" Type="http://schemas.openxmlformats.org/officeDocument/2006/relationships/slideLayout" Target="../slideLayouts/slideLayout279.xml"/><Relationship Id="rId166" Type="http://schemas.openxmlformats.org/officeDocument/2006/relationships/slideLayout" Target="../slideLayouts/slideLayout284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41.xml"/><Relationship Id="rId28" Type="http://schemas.openxmlformats.org/officeDocument/2006/relationships/slideLayout" Target="../slideLayouts/slideLayout146.xml"/><Relationship Id="rId49" Type="http://schemas.openxmlformats.org/officeDocument/2006/relationships/slideLayout" Target="../slideLayouts/slideLayout167.xml"/><Relationship Id="rId114" Type="http://schemas.openxmlformats.org/officeDocument/2006/relationships/slideLayout" Target="../slideLayouts/slideLayout232.xml"/><Relationship Id="rId119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128.xml"/><Relationship Id="rId31" Type="http://schemas.openxmlformats.org/officeDocument/2006/relationships/slideLayout" Target="../slideLayouts/slideLayout149.xml"/><Relationship Id="rId44" Type="http://schemas.openxmlformats.org/officeDocument/2006/relationships/slideLayout" Target="../slideLayouts/slideLayout162.xml"/><Relationship Id="rId52" Type="http://schemas.openxmlformats.org/officeDocument/2006/relationships/slideLayout" Target="../slideLayouts/slideLayout170.xml"/><Relationship Id="rId60" Type="http://schemas.openxmlformats.org/officeDocument/2006/relationships/slideLayout" Target="../slideLayouts/slideLayout178.xml"/><Relationship Id="rId65" Type="http://schemas.openxmlformats.org/officeDocument/2006/relationships/slideLayout" Target="../slideLayouts/slideLayout183.xml"/><Relationship Id="rId73" Type="http://schemas.openxmlformats.org/officeDocument/2006/relationships/slideLayout" Target="../slideLayouts/slideLayout191.xml"/><Relationship Id="rId78" Type="http://schemas.openxmlformats.org/officeDocument/2006/relationships/slideLayout" Target="../slideLayouts/slideLayout196.xml"/><Relationship Id="rId81" Type="http://schemas.openxmlformats.org/officeDocument/2006/relationships/slideLayout" Target="../slideLayouts/slideLayout199.xml"/><Relationship Id="rId86" Type="http://schemas.openxmlformats.org/officeDocument/2006/relationships/slideLayout" Target="../slideLayouts/slideLayout204.xml"/><Relationship Id="rId94" Type="http://schemas.openxmlformats.org/officeDocument/2006/relationships/slideLayout" Target="../slideLayouts/slideLayout212.xml"/><Relationship Id="rId99" Type="http://schemas.openxmlformats.org/officeDocument/2006/relationships/slideLayout" Target="../slideLayouts/slideLayout217.xml"/><Relationship Id="rId101" Type="http://schemas.openxmlformats.org/officeDocument/2006/relationships/slideLayout" Target="../slideLayouts/slideLayout219.xml"/><Relationship Id="rId122" Type="http://schemas.openxmlformats.org/officeDocument/2006/relationships/slideLayout" Target="../slideLayouts/slideLayout240.xml"/><Relationship Id="rId130" Type="http://schemas.openxmlformats.org/officeDocument/2006/relationships/slideLayout" Target="../slideLayouts/slideLayout248.xml"/><Relationship Id="rId135" Type="http://schemas.openxmlformats.org/officeDocument/2006/relationships/slideLayout" Target="../slideLayouts/slideLayout253.xml"/><Relationship Id="rId143" Type="http://schemas.openxmlformats.org/officeDocument/2006/relationships/slideLayout" Target="../slideLayouts/slideLayout261.xml"/><Relationship Id="rId148" Type="http://schemas.openxmlformats.org/officeDocument/2006/relationships/slideLayout" Target="../slideLayouts/slideLayout266.xml"/><Relationship Id="rId151" Type="http://schemas.openxmlformats.org/officeDocument/2006/relationships/slideLayout" Target="../slideLayouts/slideLayout269.xml"/><Relationship Id="rId156" Type="http://schemas.openxmlformats.org/officeDocument/2006/relationships/slideLayout" Target="../slideLayouts/slideLayout274.xml"/><Relationship Id="rId164" Type="http://schemas.openxmlformats.org/officeDocument/2006/relationships/slideLayout" Target="../slideLayouts/slideLayout282.xml"/><Relationship Id="rId169" Type="http://schemas.openxmlformats.org/officeDocument/2006/relationships/slideLayout" Target="../slideLayouts/slideLayout287.xml"/><Relationship Id="rId177" Type="http://schemas.openxmlformats.org/officeDocument/2006/relationships/theme" Target="../theme/theme12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72" Type="http://schemas.openxmlformats.org/officeDocument/2006/relationships/slideLayout" Target="../slideLayouts/slideLayout290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9" Type="http://schemas.openxmlformats.org/officeDocument/2006/relationships/slideLayout" Target="../slideLayouts/slideLayout157.xml"/><Relationship Id="rId109" Type="http://schemas.openxmlformats.org/officeDocument/2006/relationships/slideLayout" Target="../slideLayouts/slideLayout227.xml"/><Relationship Id="rId34" Type="http://schemas.openxmlformats.org/officeDocument/2006/relationships/slideLayout" Target="../slideLayouts/slideLayout152.xml"/><Relationship Id="rId50" Type="http://schemas.openxmlformats.org/officeDocument/2006/relationships/slideLayout" Target="../slideLayouts/slideLayout168.xml"/><Relationship Id="rId55" Type="http://schemas.openxmlformats.org/officeDocument/2006/relationships/slideLayout" Target="../slideLayouts/slideLayout173.xml"/><Relationship Id="rId76" Type="http://schemas.openxmlformats.org/officeDocument/2006/relationships/slideLayout" Target="../slideLayouts/slideLayout194.xml"/><Relationship Id="rId97" Type="http://schemas.openxmlformats.org/officeDocument/2006/relationships/slideLayout" Target="../slideLayouts/slideLayout215.xml"/><Relationship Id="rId104" Type="http://schemas.openxmlformats.org/officeDocument/2006/relationships/slideLayout" Target="../slideLayouts/slideLayout222.xml"/><Relationship Id="rId120" Type="http://schemas.openxmlformats.org/officeDocument/2006/relationships/slideLayout" Target="../slideLayouts/slideLayout238.xml"/><Relationship Id="rId125" Type="http://schemas.openxmlformats.org/officeDocument/2006/relationships/slideLayout" Target="../slideLayouts/slideLayout243.xml"/><Relationship Id="rId141" Type="http://schemas.openxmlformats.org/officeDocument/2006/relationships/slideLayout" Target="../slideLayouts/slideLayout259.xml"/><Relationship Id="rId146" Type="http://schemas.openxmlformats.org/officeDocument/2006/relationships/slideLayout" Target="../slideLayouts/slideLayout264.xml"/><Relationship Id="rId167" Type="http://schemas.openxmlformats.org/officeDocument/2006/relationships/slideLayout" Target="../slideLayouts/slideLayout285.xml"/><Relationship Id="rId7" Type="http://schemas.openxmlformats.org/officeDocument/2006/relationships/slideLayout" Target="../slideLayouts/slideLayout125.xml"/><Relationship Id="rId71" Type="http://schemas.openxmlformats.org/officeDocument/2006/relationships/slideLayout" Target="../slideLayouts/slideLayout189.xml"/><Relationship Id="rId92" Type="http://schemas.openxmlformats.org/officeDocument/2006/relationships/slideLayout" Target="../slideLayouts/slideLayout210.xml"/><Relationship Id="rId162" Type="http://schemas.openxmlformats.org/officeDocument/2006/relationships/slideLayout" Target="../slideLayouts/slideLayout280.xml"/><Relationship Id="rId2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47.xml"/><Relationship Id="rId24" Type="http://schemas.openxmlformats.org/officeDocument/2006/relationships/slideLayout" Target="../slideLayouts/slideLayout142.xml"/><Relationship Id="rId40" Type="http://schemas.openxmlformats.org/officeDocument/2006/relationships/slideLayout" Target="../slideLayouts/slideLayout158.xml"/><Relationship Id="rId45" Type="http://schemas.openxmlformats.org/officeDocument/2006/relationships/slideLayout" Target="../slideLayouts/slideLayout163.xml"/><Relationship Id="rId66" Type="http://schemas.openxmlformats.org/officeDocument/2006/relationships/slideLayout" Target="../slideLayouts/slideLayout184.xml"/><Relationship Id="rId87" Type="http://schemas.openxmlformats.org/officeDocument/2006/relationships/slideLayout" Target="../slideLayouts/slideLayout205.xml"/><Relationship Id="rId110" Type="http://schemas.openxmlformats.org/officeDocument/2006/relationships/slideLayout" Target="../slideLayouts/slideLayout228.xml"/><Relationship Id="rId115" Type="http://schemas.openxmlformats.org/officeDocument/2006/relationships/slideLayout" Target="../slideLayouts/slideLayout233.xml"/><Relationship Id="rId131" Type="http://schemas.openxmlformats.org/officeDocument/2006/relationships/slideLayout" Target="../slideLayouts/slideLayout249.xml"/><Relationship Id="rId136" Type="http://schemas.openxmlformats.org/officeDocument/2006/relationships/slideLayout" Target="../slideLayouts/slideLayout254.xml"/><Relationship Id="rId157" Type="http://schemas.openxmlformats.org/officeDocument/2006/relationships/slideLayout" Target="../slideLayouts/slideLayout275.xml"/><Relationship Id="rId178" Type="http://schemas.openxmlformats.org/officeDocument/2006/relationships/image" Target="../media/image11.png"/><Relationship Id="rId61" Type="http://schemas.openxmlformats.org/officeDocument/2006/relationships/slideLayout" Target="../slideLayouts/slideLayout179.xml"/><Relationship Id="rId82" Type="http://schemas.openxmlformats.org/officeDocument/2006/relationships/slideLayout" Target="../slideLayouts/slideLayout200.xml"/><Relationship Id="rId152" Type="http://schemas.openxmlformats.org/officeDocument/2006/relationships/slideLayout" Target="../slideLayouts/slideLayout270.xml"/><Relationship Id="rId173" Type="http://schemas.openxmlformats.org/officeDocument/2006/relationships/slideLayout" Target="../slideLayouts/slideLayout291.xml"/><Relationship Id="rId1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48.xml"/><Relationship Id="rId35" Type="http://schemas.openxmlformats.org/officeDocument/2006/relationships/slideLayout" Target="../slideLayouts/slideLayout153.xml"/><Relationship Id="rId56" Type="http://schemas.openxmlformats.org/officeDocument/2006/relationships/slideLayout" Target="../slideLayouts/slideLayout174.xml"/><Relationship Id="rId77" Type="http://schemas.openxmlformats.org/officeDocument/2006/relationships/slideLayout" Target="../slideLayouts/slideLayout195.xml"/><Relationship Id="rId100" Type="http://schemas.openxmlformats.org/officeDocument/2006/relationships/slideLayout" Target="../slideLayouts/slideLayout218.xml"/><Relationship Id="rId105" Type="http://schemas.openxmlformats.org/officeDocument/2006/relationships/slideLayout" Target="../slideLayouts/slideLayout223.xml"/><Relationship Id="rId126" Type="http://schemas.openxmlformats.org/officeDocument/2006/relationships/slideLayout" Target="../slideLayouts/slideLayout244.xml"/><Relationship Id="rId147" Type="http://schemas.openxmlformats.org/officeDocument/2006/relationships/slideLayout" Target="../slideLayouts/slideLayout265.xml"/><Relationship Id="rId168" Type="http://schemas.openxmlformats.org/officeDocument/2006/relationships/slideLayout" Target="../slideLayouts/slideLayout286.xml"/><Relationship Id="rId8" Type="http://schemas.openxmlformats.org/officeDocument/2006/relationships/slideLayout" Target="../slideLayouts/slideLayout126.xml"/><Relationship Id="rId51" Type="http://schemas.openxmlformats.org/officeDocument/2006/relationships/slideLayout" Target="../slideLayouts/slideLayout169.xml"/><Relationship Id="rId72" Type="http://schemas.openxmlformats.org/officeDocument/2006/relationships/slideLayout" Target="../slideLayouts/slideLayout190.xml"/><Relationship Id="rId93" Type="http://schemas.openxmlformats.org/officeDocument/2006/relationships/slideLayout" Target="../slideLayouts/slideLayout211.xml"/><Relationship Id="rId98" Type="http://schemas.openxmlformats.org/officeDocument/2006/relationships/slideLayout" Target="../slideLayouts/slideLayout216.xml"/><Relationship Id="rId121" Type="http://schemas.openxmlformats.org/officeDocument/2006/relationships/slideLayout" Target="../slideLayouts/slideLayout239.xml"/><Relationship Id="rId142" Type="http://schemas.openxmlformats.org/officeDocument/2006/relationships/slideLayout" Target="../slideLayouts/slideLayout260.xml"/><Relationship Id="rId163" Type="http://schemas.openxmlformats.org/officeDocument/2006/relationships/slideLayout" Target="../slideLayouts/slideLayout281.xml"/><Relationship Id="rId3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43.xml"/><Relationship Id="rId46" Type="http://schemas.openxmlformats.org/officeDocument/2006/relationships/slideLayout" Target="../slideLayouts/slideLayout164.xml"/><Relationship Id="rId67" Type="http://schemas.openxmlformats.org/officeDocument/2006/relationships/slideLayout" Target="../slideLayouts/slideLayout185.xml"/><Relationship Id="rId116" Type="http://schemas.openxmlformats.org/officeDocument/2006/relationships/slideLayout" Target="../slideLayouts/slideLayout234.xml"/><Relationship Id="rId137" Type="http://schemas.openxmlformats.org/officeDocument/2006/relationships/slideLayout" Target="../slideLayouts/slideLayout255.xml"/><Relationship Id="rId158" Type="http://schemas.openxmlformats.org/officeDocument/2006/relationships/slideLayout" Target="../slideLayouts/slideLayout276.xml"/><Relationship Id="rId20" Type="http://schemas.openxmlformats.org/officeDocument/2006/relationships/slideLayout" Target="../slideLayouts/slideLayout138.xml"/><Relationship Id="rId41" Type="http://schemas.openxmlformats.org/officeDocument/2006/relationships/slideLayout" Target="../slideLayouts/slideLayout159.xml"/><Relationship Id="rId62" Type="http://schemas.openxmlformats.org/officeDocument/2006/relationships/slideLayout" Target="../slideLayouts/slideLayout180.xml"/><Relationship Id="rId83" Type="http://schemas.openxmlformats.org/officeDocument/2006/relationships/slideLayout" Target="../slideLayouts/slideLayout201.xml"/><Relationship Id="rId88" Type="http://schemas.openxmlformats.org/officeDocument/2006/relationships/slideLayout" Target="../slideLayouts/slideLayout206.xml"/><Relationship Id="rId111" Type="http://schemas.openxmlformats.org/officeDocument/2006/relationships/slideLayout" Target="../slideLayouts/slideLayout229.xml"/><Relationship Id="rId132" Type="http://schemas.openxmlformats.org/officeDocument/2006/relationships/slideLayout" Target="../slideLayouts/slideLayout250.xml"/><Relationship Id="rId153" Type="http://schemas.openxmlformats.org/officeDocument/2006/relationships/slideLayout" Target="../slideLayouts/slideLayout271.xml"/><Relationship Id="rId174" Type="http://schemas.openxmlformats.org/officeDocument/2006/relationships/slideLayout" Target="../slideLayouts/slideLayout292.xml"/><Relationship Id="rId15" Type="http://schemas.openxmlformats.org/officeDocument/2006/relationships/slideLayout" Target="../slideLayouts/slideLayout133.xml"/><Relationship Id="rId36" Type="http://schemas.openxmlformats.org/officeDocument/2006/relationships/slideLayout" Target="../slideLayouts/slideLayout154.xml"/><Relationship Id="rId57" Type="http://schemas.openxmlformats.org/officeDocument/2006/relationships/slideLayout" Target="../slideLayouts/slideLayout175.xml"/><Relationship Id="rId106" Type="http://schemas.openxmlformats.org/officeDocument/2006/relationships/slideLayout" Target="../slideLayouts/slideLayout224.xml"/><Relationship Id="rId127" Type="http://schemas.openxmlformats.org/officeDocument/2006/relationships/slideLayout" Target="../slideLayouts/slideLayout24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2.xml"/><Relationship Id="rId3" Type="http://schemas.openxmlformats.org/officeDocument/2006/relationships/slideLayout" Target="../slideLayouts/slideLayout297.xml"/><Relationship Id="rId7" Type="http://schemas.openxmlformats.org/officeDocument/2006/relationships/slideLayout" Target="../slideLayouts/slideLayout301.xml"/><Relationship Id="rId12" Type="http://schemas.openxmlformats.org/officeDocument/2006/relationships/oleObject" Target="../embeddings/oleObject81.bin"/><Relationship Id="rId2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95.xml"/><Relationship Id="rId6" Type="http://schemas.openxmlformats.org/officeDocument/2006/relationships/slideLayout" Target="../slideLayouts/slideLayout300.xml"/><Relationship Id="rId11" Type="http://schemas.openxmlformats.org/officeDocument/2006/relationships/tags" Target="../tags/tag158.xml"/><Relationship Id="rId5" Type="http://schemas.openxmlformats.org/officeDocument/2006/relationships/slideLayout" Target="../slideLayouts/slideLayout299.xml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298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0.xml"/><Relationship Id="rId3" Type="http://schemas.openxmlformats.org/officeDocument/2006/relationships/slideLayout" Target="../slideLayouts/slideLayout305.xml"/><Relationship Id="rId7" Type="http://schemas.openxmlformats.org/officeDocument/2006/relationships/slideLayout" Target="../slideLayouts/slideLayout309.xml"/><Relationship Id="rId12" Type="http://schemas.openxmlformats.org/officeDocument/2006/relationships/oleObject" Target="../embeddings/oleObject90.bin"/><Relationship Id="rId2" Type="http://schemas.openxmlformats.org/officeDocument/2006/relationships/slideLayout" Target="../slideLayouts/slideLayout304.xml"/><Relationship Id="rId1" Type="http://schemas.openxmlformats.org/officeDocument/2006/relationships/slideLayout" Target="../slideLayouts/slideLayout303.xml"/><Relationship Id="rId6" Type="http://schemas.openxmlformats.org/officeDocument/2006/relationships/slideLayout" Target="../slideLayouts/slideLayout308.xml"/><Relationship Id="rId11" Type="http://schemas.openxmlformats.org/officeDocument/2006/relationships/tags" Target="../tags/tag162.xml"/><Relationship Id="rId5" Type="http://schemas.openxmlformats.org/officeDocument/2006/relationships/slideLayout" Target="../slideLayouts/slideLayout307.xml"/><Relationship Id="rId10" Type="http://schemas.openxmlformats.org/officeDocument/2006/relationships/vmlDrawing" Target="../drawings/vmlDrawing90.vml"/><Relationship Id="rId4" Type="http://schemas.openxmlformats.org/officeDocument/2006/relationships/slideLayout" Target="../slideLayouts/slideLayout306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8.xml"/><Relationship Id="rId3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317.xml"/><Relationship Id="rId12" Type="http://schemas.openxmlformats.org/officeDocument/2006/relationships/oleObject" Target="../embeddings/oleObject99.bin"/><Relationship Id="rId2" Type="http://schemas.openxmlformats.org/officeDocument/2006/relationships/slideLayout" Target="../slideLayouts/slideLayout312.xml"/><Relationship Id="rId1" Type="http://schemas.openxmlformats.org/officeDocument/2006/relationships/slideLayout" Target="../slideLayouts/slideLayout311.xml"/><Relationship Id="rId6" Type="http://schemas.openxmlformats.org/officeDocument/2006/relationships/slideLayout" Target="../slideLayouts/slideLayout316.xml"/><Relationship Id="rId11" Type="http://schemas.openxmlformats.org/officeDocument/2006/relationships/tags" Target="../tags/tag166.xml"/><Relationship Id="rId5" Type="http://schemas.openxmlformats.org/officeDocument/2006/relationships/slideLayout" Target="../slideLayouts/slideLayout315.xml"/><Relationship Id="rId10" Type="http://schemas.openxmlformats.org/officeDocument/2006/relationships/vmlDrawing" Target="../drawings/vmlDrawing99.vml"/><Relationship Id="rId4" Type="http://schemas.openxmlformats.org/officeDocument/2006/relationships/slideLayout" Target="../slideLayouts/slideLayout314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6.xml"/><Relationship Id="rId3" Type="http://schemas.openxmlformats.org/officeDocument/2006/relationships/slideLayout" Target="../slideLayouts/slideLayout321.xml"/><Relationship Id="rId7" Type="http://schemas.openxmlformats.org/officeDocument/2006/relationships/slideLayout" Target="../slideLayouts/slideLayout325.xml"/><Relationship Id="rId12" Type="http://schemas.openxmlformats.org/officeDocument/2006/relationships/oleObject" Target="../embeddings/oleObject108.bin"/><Relationship Id="rId2" Type="http://schemas.openxmlformats.org/officeDocument/2006/relationships/slideLayout" Target="../slideLayouts/slideLayout320.xml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Relationship Id="rId11" Type="http://schemas.openxmlformats.org/officeDocument/2006/relationships/tags" Target="../tags/tag170.xml"/><Relationship Id="rId5" Type="http://schemas.openxmlformats.org/officeDocument/2006/relationships/slideLayout" Target="../slideLayouts/slideLayout323.xml"/><Relationship Id="rId10" Type="http://schemas.openxmlformats.org/officeDocument/2006/relationships/vmlDrawing" Target="../drawings/vmlDrawing108.vml"/><Relationship Id="rId4" Type="http://schemas.openxmlformats.org/officeDocument/2006/relationships/slideLayout" Target="../slideLayouts/slideLayout322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4.xml"/><Relationship Id="rId3" Type="http://schemas.openxmlformats.org/officeDocument/2006/relationships/slideLayout" Target="../slideLayouts/slideLayout329.xml"/><Relationship Id="rId7" Type="http://schemas.openxmlformats.org/officeDocument/2006/relationships/slideLayout" Target="../slideLayouts/slideLayout333.xml"/><Relationship Id="rId12" Type="http://schemas.openxmlformats.org/officeDocument/2006/relationships/oleObject" Target="../embeddings/oleObject117.bin"/><Relationship Id="rId2" Type="http://schemas.openxmlformats.org/officeDocument/2006/relationships/slideLayout" Target="../slideLayouts/slideLayout328.xml"/><Relationship Id="rId1" Type="http://schemas.openxmlformats.org/officeDocument/2006/relationships/slideLayout" Target="../slideLayouts/slideLayout327.xml"/><Relationship Id="rId6" Type="http://schemas.openxmlformats.org/officeDocument/2006/relationships/slideLayout" Target="../slideLayouts/slideLayout332.xml"/><Relationship Id="rId11" Type="http://schemas.openxmlformats.org/officeDocument/2006/relationships/tags" Target="../tags/tag174.xml"/><Relationship Id="rId5" Type="http://schemas.openxmlformats.org/officeDocument/2006/relationships/slideLayout" Target="../slideLayouts/slideLayout331.xml"/><Relationship Id="rId10" Type="http://schemas.openxmlformats.org/officeDocument/2006/relationships/vmlDrawing" Target="../drawings/vmlDrawing117.vml"/><Relationship Id="rId4" Type="http://schemas.openxmlformats.org/officeDocument/2006/relationships/slideLayout" Target="../slideLayouts/slideLayout330.xml"/><Relationship Id="rId9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2.xml"/><Relationship Id="rId3" Type="http://schemas.openxmlformats.org/officeDocument/2006/relationships/slideLayout" Target="../slideLayouts/slideLayout337.xml"/><Relationship Id="rId7" Type="http://schemas.openxmlformats.org/officeDocument/2006/relationships/slideLayout" Target="../slideLayouts/slideLayout341.xml"/><Relationship Id="rId12" Type="http://schemas.openxmlformats.org/officeDocument/2006/relationships/oleObject" Target="../embeddings/oleObject126.bin"/><Relationship Id="rId2" Type="http://schemas.openxmlformats.org/officeDocument/2006/relationships/slideLayout" Target="../slideLayouts/slideLayout336.xml"/><Relationship Id="rId1" Type="http://schemas.openxmlformats.org/officeDocument/2006/relationships/slideLayout" Target="../slideLayouts/slideLayout335.xml"/><Relationship Id="rId6" Type="http://schemas.openxmlformats.org/officeDocument/2006/relationships/slideLayout" Target="../slideLayouts/slideLayout340.xml"/><Relationship Id="rId11" Type="http://schemas.openxmlformats.org/officeDocument/2006/relationships/tags" Target="../tags/tag178.xml"/><Relationship Id="rId5" Type="http://schemas.openxmlformats.org/officeDocument/2006/relationships/slideLayout" Target="../slideLayouts/slideLayout339.xml"/><Relationship Id="rId10" Type="http://schemas.openxmlformats.org/officeDocument/2006/relationships/vmlDrawing" Target="../drawings/vmlDrawing126.vml"/><Relationship Id="rId4" Type="http://schemas.openxmlformats.org/officeDocument/2006/relationships/slideLayout" Target="../slideLayouts/slideLayout338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0.xml"/><Relationship Id="rId3" Type="http://schemas.openxmlformats.org/officeDocument/2006/relationships/slideLayout" Target="../slideLayouts/slideLayout345.xml"/><Relationship Id="rId7" Type="http://schemas.openxmlformats.org/officeDocument/2006/relationships/slideLayout" Target="../slideLayouts/slideLayout349.xml"/><Relationship Id="rId12" Type="http://schemas.openxmlformats.org/officeDocument/2006/relationships/oleObject" Target="../embeddings/oleObject135.bin"/><Relationship Id="rId2" Type="http://schemas.openxmlformats.org/officeDocument/2006/relationships/slideLayout" Target="../slideLayouts/slideLayout344.xml"/><Relationship Id="rId1" Type="http://schemas.openxmlformats.org/officeDocument/2006/relationships/slideLayout" Target="../slideLayouts/slideLayout343.xml"/><Relationship Id="rId6" Type="http://schemas.openxmlformats.org/officeDocument/2006/relationships/slideLayout" Target="../slideLayouts/slideLayout348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347.xml"/><Relationship Id="rId10" Type="http://schemas.openxmlformats.org/officeDocument/2006/relationships/vmlDrawing" Target="../drawings/vmlDrawing135.vml"/><Relationship Id="rId4" Type="http://schemas.openxmlformats.org/officeDocument/2006/relationships/slideLayout" Target="../slideLayouts/slideLayout346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image" Target="../media/image11.png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8.xml"/><Relationship Id="rId3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57.xml"/><Relationship Id="rId12" Type="http://schemas.openxmlformats.org/officeDocument/2006/relationships/oleObject" Target="../embeddings/oleObject144.bin"/><Relationship Id="rId2" Type="http://schemas.openxmlformats.org/officeDocument/2006/relationships/slideLayout" Target="../slideLayouts/slideLayout352.xml"/><Relationship Id="rId1" Type="http://schemas.openxmlformats.org/officeDocument/2006/relationships/slideLayout" Target="../slideLayouts/slideLayout351.xml"/><Relationship Id="rId6" Type="http://schemas.openxmlformats.org/officeDocument/2006/relationships/slideLayout" Target="../slideLayouts/slideLayout356.xml"/><Relationship Id="rId11" Type="http://schemas.openxmlformats.org/officeDocument/2006/relationships/tags" Target="../tags/tag186.xml"/><Relationship Id="rId5" Type="http://schemas.openxmlformats.org/officeDocument/2006/relationships/slideLayout" Target="../slideLayouts/slideLayout355.xml"/><Relationship Id="rId10" Type="http://schemas.openxmlformats.org/officeDocument/2006/relationships/vmlDrawing" Target="../drawings/vmlDrawing144.vml"/><Relationship Id="rId4" Type="http://schemas.openxmlformats.org/officeDocument/2006/relationships/slideLayout" Target="../slideLayouts/slideLayout354.xml"/><Relationship Id="rId9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6.xml"/><Relationship Id="rId3" Type="http://schemas.openxmlformats.org/officeDocument/2006/relationships/slideLayout" Target="../slideLayouts/slideLayout361.xml"/><Relationship Id="rId7" Type="http://schemas.openxmlformats.org/officeDocument/2006/relationships/slideLayout" Target="../slideLayouts/slideLayout365.xml"/><Relationship Id="rId12" Type="http://schemas.openxmlformats.org/officeDocument/2006/relationships/oleObject" Target="../embeddings/oleObject153.bin"/><Relationship Id="rId2" Type="http://schemas.openxmlformats.org/officeDocument/2006/relationships/slideLayout" Target="../slideLayouts/slideLayout360.xml"/><Relationship Id="rId1" Type="http://schemas.openxmlformats.org/officeDocument/2006/relationships/slideLayout" Target="../slideLayouts/slideLayout359.xml"/><Relationship Id="rId6" Type="http://schemas.openxmlformats.org/officeDocument/2006/relationships/slideLayout" Target="../slideLayouts/slideLayout364.xml"/><Relationship Id="rId11" Type="http://schemas.openxmlformats.org/officeDocument/2006/relationships/tags" Target="../tags/tag190.xml"/><Relationship Id="rId5" Type="http://schemas.openxmlformats.org/officeDocument/2006/relationships/slideLayout" Target="../slideLayouts/slideLayout363.xml"/><Relationship Id="rId10" Type="http://schemas.openxmlformats.org/officeDocument/2006/relationships/vmlDrawing" Target="../drawings/vmlDrawing153.vml"/><Relationship Id="rId4" Type="http://schemas.openxmlformats.org/officeDocument/2006/relationships/slideLayout" Target="../slideLayouts/slideLayout362.xml"/><Relationship Id="rId9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4.xml"/><Relationship Id="rId3" Type="http://schemas.openxmlformats.org/officeDocument/2006/relationships/slideLayout" Target="../slideLayouts/slideLayout369.xml"/><Relationship Id="rId7" Type="http://schemas.openxmlformats.org/officeDocument/2006/relationships/slideLayout" Target="../slideLayouts/slideLayout373.xml"/><Relationship Id="rId12" Type="http://schemas.openxmlformats.org/officeDocument/2006/relationships/oleObject" Target="../embeddings/oleObject162.bin"/><Relationship Id="rId2" Type="http://schemas.openxmlformats.org/officeDocument/2006/relationships/slideLayout" Target="../slideLayouts/slideLayout368.xml"/><Relationship Id="rId1" Type="http://schemas.openxmlformats.org/officeDocument/2006/relationships/slideLayout" Target="../slideLayouts/slideLayout367.xml"/><Relationship Id="rId6" Type="http://schemas.openxmlformats.org/officeDocument/2006/relationships/slideLayout" Target="../slideLayouts/slideLayout372.xml"/><Relationship Id="rId11" Type="http://schemas.openxmlformats.org/officeDocument/2006/relationships/tags" Target="../tags/tag194.xml"/><Relationship Id="rId5" Type="http://schemas.openxmlformats.org/officeDocument/2006/relationships/slideLayout" Target="../slideLayouts/slideLayout371.xml"/><Relationship Id="rId10" Type="http://schemas.openxmlformats.org/officeDocument/2006/relationships/vmlDrawing" Target="../drawings/vmlDrawing162.vml"/><Relationship Id="rId4" Type="http://schemas.openxmlformats.org/officeDocument/2006/relationships/slideLayout" Target="../slideLayouts/slideLayout370.xml"/><Relationship Id="rId9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7.xml"/><Relationship Id="rId7" Type="http://schemas.openxmlformats.org/officeDocument/2006/relationships/oleObject" Target="../embeddings/oleObject171.bin"/><Relationship Id="rId2" Type="http://schemas.openxmlformats.org/officeDocument/2006/relationships/slideLayout" Target="../slideLayouts/slideLayout376.xml"/><Relationship Id="rId1" Type="http://schemas.openxmlformats.org/officeDocument/2006/relationships/slideLayout" Target="../slideLayouts/slideLayout375.xml"/><Relationship Id="rId6" Type="http://schemas.openxmlformats.org/officeDocument/2006/relationships/tags" Target="../tags/tag198.xml"/><Relationship Id="rId5" Type="http://schemas.openxmlformats.org/officeDocument/2006/relationships/vmlDrawing" Target="../drawings/vmlDrawing171.vml"/><Relationship Id="rId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0.xml"/><Relationship Id="rId7" Type="http://schemas.openxmlformats.org/officeDocument/2006/relationships/oleObject" Target="../embeddings/oleObject175.bin"/><Relationship Id="rId2" Type="http://schemas.openxmlformats.org/officeDocument/2006/relationships/slideLayout" Target="../slideLayouts/slideLayout379.xml"/><Relationship Id="rId1" Type="http://schemas.openxmlformats.org/officeDocument/2006/relationships/slideLayout" Target="../slideLayouts/slideLayout378.xml"/><Relationship Id="rId6" Type="http://schemas.openxmlformats.org/officeDocument/2006/relationships/tags" Target="../tags/tag200.xml"/><Relationship Id="rId5" Type="http://schemas.openxmlformats.org/officeDocument/2006/relationships/vmlDrawing" Target="../drawings/vmlDrawing175.vml"/><Relationship Id="rId4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8.xml"/><Relationship Id="rId3" Type="http://schemas.openxmlformats.org/officeDocument/2006/relationships/slideLayout" Target="../slideLayouts/slideLayout383.xml"/><Relationship Id="rId7" Type="http://schemas.openxmlformats.org/officeDocument/2006/relationships/slideLayout" Target="../slideLayouts/slideLayout387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382.xml"/><Relationship Id="rId1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6.xml"/><Relationship Id="rId11" Type="http://schemas.openxmlformats.org/officeDocument/2006/relationships/slideLayout" Target="../slideLayouts/slideLayout391.xml"/><Relationship Id="rId5" Type="http://schemas.openxmlformats.org/officeDocument/2006/relationships/slideLayout" Target="../slideLayouts/slideLayout385.xml"/><Relationship Id="rId10" Type="http://schemas.openxmlformats.org/officeDocument/2006/relationships/slideLayout" Target="../slideLayouts/slideLayout390.xml"/><Relationship Id="rId4" Type="http://schemas.openxmlformats.org/officeDocument/2006/relationships/slideLayout" Target="../slideLayouts/slideLayout384.xml"/><Relationship Id="rId9" Type="http://schemas.openxmlformats.org/officeDocument/2006/relationships/slideLayout" Target="../slideLayouts/slideLayout389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9.xml"/><Relationship Id="rId13" Type="http://schemas.openxmlformats.org/officeDocument/2006/relationships/slideLayout" Target="../slideLayouts/slideLayout404.xml"/><Relationship Id="rId18" Type="http://schemas.openxmlformats.org/officeDocument/2006/relationships/slideLayout" Target="../slideLayouts/slideLayout409.xml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394.xml"/><Relationship Id="rId21" Type="http://schemas.openxmlformats.org/officeDocument/2006/relationships/slideLayout" Target="../slideLayouts/slideLayout412.xml"/><Relationship Id="rId7" Type="http://schemas.openxmlformats.org/officeDocument/2006/relationships/slideLayout" Target="../slideLayouts/slideLayout398.xml"/><Relationship Id="rId12" Type="http://schemas.openxmlformats.org/officeDocument/2006/relationships/slideLayout" Target="../slideLayouts/slideLayout403.xml"/><Relationship Id="rId17" Type="http://schemas.openxmlformats.org/officeDocument/2006/relationships/slideLayout" Target="../slideLayouts/slideLayout408.xml"/><Relationship Id="rId25" Type="http://schemas.openxmlformats.org/officeDocument/2006/relationships/theme" Target="../theme/theme26.xml"/><Relationship Id="rId2" Type="http://schemas.openxmlformats.org/officeDocument/2006/relationships/slideLayout" Target="../slideLayouts/slideLayout393.xml"/><Relationship Id="rId16" Type="http://schemas.openxmlformats.org/officeDocument/2006/relationships/slideLayout" Target="../slideLayouts/slideLayout407.xml"/><Relationship Id="rId20" Type="http://schemas.openxmlformats.org/officeDocument/2006/relationships/slideLayout" Target="../slideLayouts/slideLayout411.xml"/><Relationship Id="rId1" Type="http://schemas.openxmlformats.org/officeDocument/2006/relationships/slideLayout" Target="../slideLayouts/slideLayout392.xml"/><Relationship Id="rId6" Type="http://schemas.openxmlformats.org/officeDocument/2006/relationships/slideLayout" Target="../slideLayouts/slideLayout397.xml"/><Relationship Id="rId11" Type="http://schemas.openxmlformats.org/officeDocument/2006/relationships/slideLayout" Target="../slideLayouts/slideLayout402.xml"/><Relationship Id="rId24" Type="http://schemas.openxmlformats.org/officeDocument/2006/relationships/slideLayout" Target="../slideLayouts/slideLayout415.xml"/><Relationship Id="rId5" Type="http://schemas.openxmlformats.org/officeDocument/2006/relationships/slideLayout" Target="../slideLayouts/slideLayout396.xml"/><Relationship Id="rId15" Type="http://schemas.openxmlformats.org/officeDocument/2006/relationships/slideLayout" Target="../slideLayouts/slideLayout406.xml"/><Relationship Id="rId23" Type="http://schemas.openxmlformats.org/officeDocument/2006/relationships/slideLayout" Target="../slideLayouts/slideLayout414.xml"/><Relationship Id="rId10" Type="http://schemas.openxmlformats.org/officeDocument/2006/relationships/slideLayout" Target="../slideLayouts/slideLayout401.xml"/><Relationship Id="rId19" Type="http://schemas.openxmlformats.org/officeDocument/2006/relationships/slideLayout" Target="../slideLayouts/slideLayout410.xml"/><Relationship Id="rId4" Type="http://schemas.openxmlformats.org/officeDocument/2006/relationships/slideLayout" Target="../slideLayouts/slideLayout395.xml"/><Relationship Id="rId9" Type="http://schemas.openxmlformats.org/officeDocument/2006/relationships/slideLayout" Target="../slideLayouts/slideLayout400.xml"/><Relationship Id="rId14" Type="http://schemas.openxmlformats.org/officeDocument/2006/relationships/slideLayout" Target="../slideLayouts/slideLayout405.xml"/><Relationship Id="rId22" Type="http://schemas.openxmlformats.org/officeDocument/2006/relationships/slideLayout" Target="../slideLayouts/slideLayout413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3.xml"/><Relationship Id="rId13" Type="http://schemas.openxmlformats.org/officeDocument/2006/relationships/slideLayout" Target="../slideLayouts/slideLayout428.xml"/><Relationship Id="rId18" Type="http://schemas.openxmlformats.org/officeDocument/2006/relationships/slideLayout" Target="../slideLayouts/slideLayout433.xml"/><Relationship Id="rId26" Type="http://schemas.openxmlformats.org/officeDocument/2006/relationships/theme" Target="../theme/theme27.xml"/><Relationship Id="rId3" Type="http://schemas.openxmlformats.org/officeDocument/2006/relationships/slideLayout" Target="../slideLayouts/slideLayout418.xml"/><Relationship Id="rId21" Type="http://schemas.openxmlformats.org/officeDocument/2006/relationships/slideLayout" Target="../slideLayouts/slideLayout436.xml"/><Relationship Id="rId7" Type="http://schemas.openxmlformats.org/officeDocument/2006/relationships/slideLayout" Target="../slideLayouts/slideLayout422.xml"/><Relationship Id="rId12" Type="http://schemas.openxmlformats.org/officeDocument/2006/relationships/slideLayout" Target="../slideLayouts/slideLayout427.xml"/><Relationship Id="rId17" Type="http://schemas.openxmlformats.org/officeDocument/2006/relationships/slideLayout" Target="../slideLayouts/slideLayout432.xml"/><Relationship Id="rId25" Type="http://schemas.openxmlformats.org/officeDocument/2006/relationships/slideLayout" Target="../slideLayouts/slideLayout440.xml"/><Relationship Id="rId2" Type="http://schemas.openxmlformats.org/officeDocument/2006/relationships/slideLayout" Target="../slideLayouts/slideLayout417.xml"/><Relationship Id="rId16" Type="http://schemas.openxmlformats.org/officeDocument/2006/relationships/slideLayout" Target="../slideLayouts/slideLayout431.xml"/><Relationship Id="rId20" Type="http://schemas.openxmlformats.org/officeDocument/2006/relationships/slideLayout" Target="../slideLayouts/slideLayout435.xml"/><Relationship Id="rId1" Type="http://schemas.openxmlformats.org/officeDocument/2006/relationships/slideLayout" Target="../slideLayouts/slideLayout416.xml"/><Relationship Id="rId6" Type="http://schemas.openxmlformats.org/officeDocument/2006/relationships/slideLayout" Target="../slideLayouts/slideLayout421.xml"/><Relationship Id="rId11" Type="http://schemas.openxmlformats.org/officeDocument/2006/relationships/slideLayout" Target="../slideLayouts/slideLayout426.xml"/><Relationship Id="rId24" Type="http://schemas.openxmlformats.org/officeDocument/2006/relationships/slideLayout" Target="../slideLayouts/slideLayout439.xml"/><Relationship Id="rId5" Type="http://schemas.openxmlformats.org/officeDocument/2006/relationships/slideLayout" Target="../slideLayouts/slideLayout420.xml"/><Relationship Id="rId15" Type="http://schemas.openxmlformats.org/officeDocument/2006/relationships/slideLayout" Target="../slideLayouts/slideLayout430.xml"/><Relationship Id="rId23" Type="http://schemas.openxmlformats.org/officeDocument/2006/relationships/slideLayout" Target="../slideLayouts/slideLayout438.xml"/><Relationship Id="rId10" Type="http://schemas.openxmlformats.org/officeDocument/2006/relationships/slideLayout" Target="../slideLayouts/slideLayout425.xml"/><Relationship Id="rId19" Type="http://schemas.openxmlformats.org/officeDocument/2006/relationships/slideLayout" Target="../slideLayouts/slideLayout434.xml"/><Relationship Id="rId4" Type="http://schemas.openxmlformats.org/officeDocument/2006/relationships/slideLayout" Target="../slideLayouts/slideLayout419.xml"/><Relationship Id="rId9" Type="http://schemas.openxmlformats.org/officeDocument/2006/relationships/slideLayout" Target="../slideLayouts/slideLayout424.xml"/><Relationship Id="rId14" Type="http://schemas.openxmlformats.org/officeDocument/2006/relationships/slideLayout" Target="../slideLayouts/slideLayout429.xml"/><Relationship Id="rId22" Type="http://schemas.openxmlformats.org/officeDocument/2006/relationships/slideLayout" Target="../slideLayouts/slideLayout437.xml"/><Relationship Id="rId27" Type="http://schemas.openxmlformats.org/officeDocument/2006/relationships/image" Target="../media/image11.pn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8.xml"/><Relationship Id="rId13" Type="http://schemas.openxmlformats.org/officeDocument/2006/relationships/slideLayout" Target="../slideLayouts/slideLayout453.xml"/><Relationship Id="rId18" Type="http://schemas.openxmlformats.org/officeDocument/2006/relationships/slideLayout" Target="../slideLayouts/slideLayout458.xml"/><Relationship Id="rId26" Type="http://schemas.openxmlformats.org/officeDocument/2006/relationships/theme" Target="../theme/theme28.xml"/><Relationship Id="rId3" Type="http://schemas.openxmlformats.org/officeDocument/2006/relationships/slideLayout" Target="../slideLayouts/slideLayout443.xml"/><Relationship Id="rId21" Type="http://schemas.openxmlformats.org/officeDocument/2006/relationships/slideLayout" Target="../slideLayouts/slideLayout461.xml"/><Relationship Id="rId7" Type="http://schemas.openxmlformats.org/officeDocument/2006/relationships/slideLayout" Target="../slideLayouts/slideLayout447.xml"/><Relationship Id="rId12" Type="http://schemas.openxmlformats.org/officeDocument/2006/relationships/slideLayout" Target="../slideLayouts/slideLayout452.xml"/><Relationship Id="rId17" Type="http://schemas.openxmlformats.org/officeDocument/2006/relationships/slideLayout" Target="../slideLayouts/slideLayout457.xml"/><Relationship Id="rId25" Type="http://schemas.openxmlformats.org/officeDocument/2006/relationships/slideLayout" Target="../slideLayouts/slideLayout465.xml"/><Relationship Id="rId2" Type="http://schemas.openxmlformats.org/officeDocument/2006/relationships/slideLayout" Target="../slideLayouts/slideLayout442.xml"/><Relationship Id="rId16" Type="http://schemas.openxmlformats.org/officeDocument/2006/relationships/slideLayout" Target="../slideLayouts/slideLayout456.xml"/><Relationship Id="rId20" Type="http://schemas.openxmlformats.org/officeDocument/2006/relationships/slideLayout" Target="../slideLayouts/slideLayout460.xml"/><Relationship Id="rId1" Type="http://schemas.openxmlformats.org/officeDocument/2006/relationships/slideLayout" Target="../slideLayouts/slideLayout441.xml"/><Relationship Id="rId6" Type="http://schemas.openxmlformats.org/officeDocument/2006/relationships/slideLayout" Target="../slideLayouts/slideLayout446.xml"/><Relationship Id="rId11" Type="http://schemas.openxmlformats.org/officeDocument/2006/relationships/slideLayout" Target="../slideLayouts/slideLayout451.xml"/><Relationship Id="rId24" Type="http://schemas.openxmlformats.org/officeDocument/2006/relationships/slideLayout" Target="../slideLayouts/slideLayout464.xml"/><Relationship Id="rId5" Type="http://schemas.openxmlformats.org/officeDocument/2006/relationships/slideLayout" Target="../slideLayouts/slideLayout445.xml"/><Relationship Id="rId15" Type="http://schemas.openxmlformats.org/officeDocument/2006/relationships/slideLayout" Target="../slideLayouts/slideLayout455.xml"/><Relationship Id="rId23" Type="http://schemas.openxmlformats.org/officeDocument/2006/relationships/slideLayout" Target="../slideLayouts/slideLayout463.xml"/><Relationship Id="rId10" Type="http://schemas.openxmlformats.org/officeDocument/2006/relationships/slideLayout" Target="../slideLayouts/slideLayout450.xml"/><Relationship Id="rId19" Type="http://schemas.openxmlformats.org/officeDocument/2006/relationships/slideLayout" Target="../slideLayouts/slideLayout459.xml"/><Relationship Id="rId4" Type="http://schemas.openxmlformats.org/officeDocument/2006/relationships/slideLayout" Target="../slideLayouts/slideLayout444.xml"/><Relationship Id="rId9" Type="http://schemas.openxmlformats.org/officeDocument/2006/relationships/slideLayout" Target="../slideLayouts/slideLayout449.xml"/><Relationship Id="rId14" Type="http://schemas.openxmlformats.org/officeDocument/2006/relationships/slideLayout" Target="../slideLayouts/slideLayout454.xml"/><Relationship Id="rId22" Type="http://schemas.openxmlformats.org/officeDocument/2006/relationships/slideLayout" Target="../slideLayouts/slideLayout462.xml"/><Relationship Id="rId27" Type="http://schemas.openxmlformats.org/officeDocument/2006/relationships/image" Target="../media/image1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35.xml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43.xml"/><Relationship Id="rId10" Type="http://schemas.openxmlformats.org/officeDocument/2006/relationships/vmlDrawing" Target="../drawings/vmlDrawing18.vml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oleObject" Target="../embeddings/oleObject27.bin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ags" Target="../tags/tag14.xml"/><Relationship Id="rId5" Type="http://schemas.openxmlformats.org/officeDocument/2006/relationships/slideLayout" Target="../slideLayouts/slideLayout51.xml"/><Relationship Id="rId10" Type="http://schemas.openxmlformats.org/officeDocument/2006/relationships/vmlDrawing" Target="../drawings/vmlDrawing27.vml"/><Relationship Id="rId4" Type="http://schemas.openxmlformats.org/officeDocument/2006/relationships/slideLayout" Target="../slideLayouts/slideLayout50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59.xml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58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oleObject" Target="../embeddings/oleObject45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ags" Target="../tags/tag22.xml"/><Relationship Id="rId5" Type="http://schemas.openxmlformats.org/officeDocument/2006/relationships/slideLayout" Target="../slideLayouts/slideLayout67.xml"/><Relationship Id="rId10" Type="http://schemas.openxmlformats.org/officeDocument/2006/relationships/vmlDrawing" Target="../drawings/vmlDrawing45.vml"/><Relationship Id="rId4" Type="http://schemas.openxmlformats.org/officeDocument/2006/relationships/slideLayout" Target="../slideLayouts/slideLayout66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oleObject" Target="../embeddings/oleObject54.bin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75.xml"/><Relationship Id="rId10" Type="http://schemas.openxmlformats.org/officeDocument/2006/relationships/vmlDrawing" Target="../drawings/vmlDrawing54.vml"/><Relationship Id="rId4" Type="http://schemas.openxmlformats.org/officeDocument/2006/relationships/slideLayout" Target="../slideLayouts/slideLayout74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oleObject" Target="../embeddings/oleObject63.bin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83.xml"/><Relationship Id="rId10" Type="http://schemas.openxmlformats.org/officeDocument/2006/relationships/vmlDrawing" Target="../drawings/vmlDrawing63.vml"/><Relationship Id="rId4" Type="http://schemas.openxmlformats.org/officeDocument/2006/relationships/slideLayout" Target="../slideLayouts/slideLayout82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970432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1801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 err="1">
              <a:solidFill>
                <a:schemeClr val="bg1"/>
              </a:solidFill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</a:t>
            </a:r>
            <a:r>
              <a:rPr lang="ru-RU" sz="800" baseline="0" dirty="0">
                <a:solidFill>
                  <a:srgbClr val="FFFFFF"/>
                </a:solidFill>
              </a:rPr>
              <a:t>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kumimoji="0" lang="ru-RU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/>
              <a:t>‹#›</a:t>
            </a:fld>
            <a:endParaRPr lang="ru-RU" sz="1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8652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10" r:id="rId2"/>
    <p:sldLayoutId id="2147483685" r:id="rId3"/>
    <p:sldLayoutId id="2147483686" r:id="rId4"/>
    <p:sldLayoutId id="2147483687" r:id="rId5"/>
    <p:sldLayoutId id="2147483711" r:id="rId6"/>
    <p:sldLayoutId id="2147483713" r:id="rId7"/>
    <p:sldLayoutId id="2147485033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854914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31126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72615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80963" y="6286622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635328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1" r:id="rId20"/>
    <p:sldLayoutId id="2147483832" r:id="rId21"/>
    <p:sldLayoutId id="2147483833" r:id="rId22"/>
    <p:sldLayoutId id="2147483834" r:id="rId23"/>
    <p:sldLayoutId id="2147483835" r:id="rId24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6.04.2019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6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6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178" cstate="print"/>
          <a:srcRect/>
          <a:stretch>
            <a:fillRect/>
          </a:stretch>
        </p:blipFill>
        <p:spPr bwMode="auto">
          <a:xfrm>
            <a:off x="380963" y="6286636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354751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4" r:id="rId18"/>
    <p:sldLayoutId id="2147483855" r:id="rId19"/>
    <p:sldLayoutId id="2147483856" r:id="rId20"/>
    <p:sldLayoutId id="2147483857" r:id="rId21"/>
    <p:sldLayoutId id="2147483858" r:id="rId22"/>
    <p:sldLayoutId id="2147483859" r:id="rId23"/>
    <p:sldLayoutId id="2147483860" r:id="rId24"/>
    <p:sldLayoutId id="2147483861" r:id="rId25"/>
    <p:sldLayoutId id="2147483862" r:id="rId26"/>
    <p:sldLayoutId id="2147483863" r:id="rId27"/>
    <p:sldLayoutId id="2147483864" r:id="rId28"/>
    <p:sldLayoutId id="2147483865" r:id="rId29"/>
    <p:sldLayoutId id="2147483866" r:id="rId30"/>
    <p:sldLayoutId id="2147483867" r:id="rId31"/>
    <p:sldLayoutId id="2147483868" r:id="rId32"/>
    <p:sldLayoutId id="2147483869" r:id="rId33"/>
    <p:sldLayoutId id="2147483870" r:id="rId34"/>
    <p:sldLayoutId id="2147483871" r:id="rId35"/>
    <p:sldLayoutId id="2147483872" r:id="rId36"/>
    <p:sldLayoutId id="2147483873" r:id="rId37"/>
    <p:sldLayoutId id="2147483874" r:id="rId38"/>
    <p:sldLayoutId id="2147483875" r:id="rId39"/>
    <p:sldLayoutId id="2147483876" r:id="rId40"/>
    <p:sldLayoutId id="2147483877" r:id="rId41"/>
    <p:sldLayoutId id="2147483878" r:id="rId42"/>
    <p:sldLayoutId id="2147483879" r:id="rId43"/>
    <p:sldLayoutId id="2147483880" r:id="rId44"/>
    <p:sldLayoutId id="2147483881" r:id="rId45"/>
    <p:sldLayoutId id="2147483882" r:id="rId46"/>
    <p:sldLayoutId id="2147483883" r:id="rId47"/>
    <p:sldLayoutId id="2147483884" r:id="rId48"/>
    <p:sldLayoutId id="2147483885" r:id="rId49"/>
    <p:sldLayoutId id="2147483886" r:id="rId50"/>
    <p:sldLayoutId id="2147483887" r:id="rId51"/>
    <p:sldLayoutId id="2147483888" r:id="rId52"/>
    <p:sldLayoutId id="2147483889" r:id="rId53"/>
    <p:sldLayoutId id="2147483890" r:id="rId54"/>
    <p:sldLayoutId id="2147483891" r:id="rId55"/>
    <p:sldLayoutId id="2147483892" r:id="rId56"/>
    <p:sldLayoutId id="2147483893" r:id="rId57"/>
    <p:sldLayoutId id="2147483894" r:id="rId58"/>
    <p:sldLayoutId id="2147483895" r:id="rId59"/>
    <p:sldLayoutId id="2147483896" r:id="rId60"/>
    <p:sldLayoutId id="2147483897" r:id="rId61"/>
    <p:sldLayoutId id="2147483898" r:id="rId62"/>
    <p:sldLayoutId id="2147483899" r:id="rId63"/>
    <p:sldLayoutId id="2147483900" r:id="rId64"/>
    <p:sldLayoutId id="2147483901" r:id="rId65"/>
    <p:sldLayoutId id="2147483902" r:id="rId66"/>
    <p:sldLayoutId id="2147483903" r:id="rId67"/>
    <p:sldLayoutId id="2147483904" r:id="rId68"/>
    <p:sldLayoutId id="2147483905" r:id="rId69"/>
    <p:sldLayoutId id="2147483906" r:id="rId70"/>
    <p:sldLayoutId id="2147483907" r:id="rId71"/>
    <p:sldLayoutId id="2147483908" r:id="rId72"/>
    <p:sldLayoutId id="2147483909" r:id="rId73"/>
    <p:sldLayoutId id="2147483910" r:id="rId74"/>
    <p:sldLayoutId id="2147483911" r:id="rId75"/>
    <p:sldLayoutId id="2147483912" r:id="rId76"/>
    <p:sldLayoutId id="2147483913" r:id="rId77"/>
    <p:sldLayoutId id="2147483914" r:id="rId78"/>
    <p:sldLayoutId id="2147483915" r:id="rId79"/>
    <p:sldLayoutId id="2147483916" r:id="rId80"/>
    <p:sldLayoutId id="2147483917" r:id="rId81"/>
    <p:sldLayoutId id="2147483918" r:id="rId82"/>
    <p:sldLayoutId id="2147483919" r:id="rId83"/>
    <p:sldLayoutId id="2147483920" r:id="rId84"/>
    <p:sldLayoutId id="2147483921" r:id="rId85"/>
    <p:sldLayoutId id="2147483922" r:id="rId86"/>
    <p:sldLayoutId id="2147483923" r:id="rId87"/>
    <p:sldLayoutId id="2147483924" r:id="rId88"/>
    <p:sldLayoutId id="2147483925" r:id="rId89"/>
    <p:sldLayoutId id="2147483926" r:id="rId90"/>
    <p:sldLayoutId id="2147483927" r:id="rId91"/>
    <p:sldLayoutId id="2147483928" r:id="rId92"/>
    <p:sldLayoutId id="2147483929" r:id="rId93"/>
    <p:sldLayoutId id="2147483930" r:id="rId94"/>
    <p:sldLayoutId id="2147483931" r:id="rId95"/>
    <p:sldLayoutId id="2147483932" r:id="rId96"/>
    <p:sldLayoutId id="2147483933" r:id="rId97"/>
    <p:sldLayoutId id="2147483934" r:id="rId98"/>
    <p:sldLayoutId id="2147483935" r:id="rId99"/>
    <p:sldLayoutId id="2147483936" r:id="rId100"/>
    <p:sldLayoutId id="2147483937" r:id="rId101"/>
    <p:sldLayoutId id="2147483938" r:id="rId102"/>
    <p:sldLayoutId id="2147483939" r:id="rId103"/>
    <p:sldLayoutId id="2147483940" r:id="rId104"/>
    <p:sldLayoutId id="2147483941" r:id="rId105"/>
    <p:sldLayoutId id="2147483942" r:id="rId106"/>
    <p:sldLayoutId id="2147483943" r:id="rId107"/>
    <p:sldLayoutId id="2147483944" r:id="rId108"/>
    <p:sldLayoutId id="2147483945" r:id="rId109"/>
    <p:sldLayoutId id="2147483946" r:id="rId110"/>
    <p:sldLayoutId id="2147483947" r:id="rId111"/>
    <p:sldLayoutId id="2147483948" r:id="rId112"/>
    <p:sldLayoutId id="2147483949" r:id="rId113"/>
    <p:sldLayoutId id="2147483950" r:id="rId114"/>
    <p:sldLayoutId id="2147483951" r:id="rId115"/>
    <p:sldLayoutId id="2147483952" r:id="rId116"/>
    <p:sldLayoutId id="2147483953" r:id="rId117"/>
    <p:sldLayoutId id="2147483954" r:id="rId118"/>
    <p:sldLayoutId id="2147483955" r:id="rId119"/>
    <p:sldLayoutId id="2147483956" r:id="rId120"/>
    <p:sldLayoutId id="2147483957" r:id="rId121"/>
    <p:sldLayoutId id="2147483958" r:id="rId122"/>
    <p:sldLayoutId id="2147483959" r:id="rId123"/>
    <p:sldLayoutId id="2147483960" r:id="rId124"/>
    <p:sldLayoutId id="2147483961" r:id="rId125"/>
    <p:sldLayoutId id="2147483962" r:id="rId126"/>
    <p:sldLayoutId id="2147483963" r:id="rId127"/>
    <p:sldLayoutId id="2147483964" r:id="rId128"/>
    <p:sldLayoutId id="2147483965" r:id="rId129"/>
    <p:sldLayoutId id="2147483966" r:id="rId130"/>
    <p:sldLayoutId id="2147483967" r:id="rId131"/>
    <p:sldLayoutId id="2147483968" r:id="rId132"/>
    <p:sldLayoutId id="2147483969" r:id="rId133"/>
    <p:sldLayoutId id="2147483970" r:id="rId134"/>
    <p:sldLayoutId id="2147483971" r:id="rId135"/>
    <p:sldLayoutId id="2147483972" r:id="rId136"/>
    <p:sldLayoutId id="2147483973" r:id="rId137"/>
    <p:sldLayoutId id="2147483974" r:id="rId138"/>
    <p:sldLayoutId id="2147483975" r:id="rId139"/>
    <p:sldLayoutId id="2147483976" r:id="rId140"/>
    <p:sldLayoutId id="2147483977" r:id="rId141"/>
    <p:sldLayoutId id="2147483978" r:id="rId142"/>
    <p:sldLayoutId id="2147483979" r:id="rId143"/>
    <p:sldLayoutId id="2147483980" r:id="rId144"/>
    <p:sldLayoutId id="2147483981" r:id="rId145"/>
    <p:sldLayoutId id="2147483982" r:id="rId146"/>
    <p:sldLayoutId id="2147483983" r:id="rId147"/>
    <p:sldLayoutId id="2147483984" r:id="rId148"/>
    <p:sldLayoutId id="2147483985" r:id="rId149"/>
    <p:sldLayoutId id="2147483986" r:id="rId150"/>
    <p:sldLayoutId id="2147483987" r:id="rId151"/>
    <p:sldLayoutId id="2147483988" r:id="rId152"/>
    <p:sldLayoutId id="2147483989" r:id="rId153"/>
    <p:sldLayoutId id="2147483990" r:id="rId154"/>
    <p:sldLayoutId id="2147483991" r:id="rId155"/>
    <p:sldLayoutId id="2147483992" r:id="rId156"/>
    <p:sldLayoutId id="2147483993" r:id="rId157"/>
    <p:sldLayoutId id="2147483994" r:id="rId158"/>
    <p:sldLayoutId id="2147483995" r:id="rId159"/>
    <p:sldLayoutId id="2147483996" r:id="rId160"/>
    <p:sldLayoutId id="2147483997" r:id="rId161"/>
    <p:sldLayoutId id="2147483998" r:id="rId162"/>
    <p:sldLayoutId id="2147483999" r:id="rId163"/>
    <p:sldLayoutId id="2147484000" r:id="rId164"/>
    <p:sldLayoutId id="2147484001" r:id="rId165"/>
    <p:sldLayoutId id="2147484002" r:id="rId166"/>
    <p:sldLayoutId id="2147484003" r:id="rId167"/>
    <p:sldLayoutId id="2147484004" r:id="rId168"/>
    <p:sldLayoutId id="2147484005" r:id="rId169"/>
    <p:sldLayoutId id="2147484006" r:id="rId170"/>
    <p:sldLayoutId id="2147484007" r:id="rId171"/>
    <p:sldLayoutId id="2147484008" r:id="rId172"/>
    <p:sldLayoutId id="2147484009" r:id="rId173"/>
    <p:sldLayoutId id="2147484010" r:id="rId174"/>
    <p:sldLayoutId id="2147484011" r:id="rId175"/>
    <p:sldLayoutId id="2147484012" r:id="rId176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1534207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47502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41087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8" r:id="rId1"/>
    <p:sldLayoutId id="2147484399" r:id="rId2"/>
    <p:sldLayoutId id="2147484400" r:id="rId3"/>
    <p:sldLayoutId id="2147484401" r:id="rId4"/>
    <p:sldLayoutId id="2147484402" r:id="rId5"/>
    <p:sldLayoutId id="2147484403" r:id="rId6"/>
    <p:sldLayoutId id="2147484404" r:id="rId7"/>
    <p:sldLayoutId id="2147484405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1534207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56718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41087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7" r:id="rId1"/>
    <p:sldLayoutId id="2147484408" r:id="rId2"/>
    <p:sldLayoutId id="2147484409" r:id="rId3"/>
    <p:sldLayoutId id="2147484410" r:id="rId4"/>
    <p:sldLayoutId id="2147484411" r:id="rId5"/>
    <p:sldLayoutId id="2147484412" r:id="rId6"/>
    <p:sldLayoutId id="2147484413" r:id="rId7"/>
    <p:sldLayoutId id="2147484414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98265509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69006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70251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  <p:sldLayoutId id="2147484419" r:id="rId4"/>
    <p:sldLayoutId id="2147484420" r:id="rId5"/>
    <p:sldLayoutId id="2147484421" r:id="rId6"/>
    <p:sldLayoutId id="2147484422" r:id="rId7"/>
    <p:sldLayoutId id="2147484423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3665994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79246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35101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5" r:id="rId1"/>
    <p:sldLayoutId id="2147484426" r:id="rId2"/>
    <p:sldLayoutId id="2147484427" r:id="rId3"/>
    <p:sldLayoutId id="2147484428" r:id="rId4"/>
    <p:sldLayoutId id="2147484429" r:id="rId5"/>
    <p:sldLayoutId id="2147484430" r:id="rId6"/>
    <p:sldLayoutId id="2147484431" r:id="rId7"/>
    <p:sldLayoutId id="2147484432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770792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88462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27821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4" r:id="rId1"/>
    <p:sldLayoutId id="2147484435" r:id="rId2"/>
    <p:sldLayoutId id="2147484436" r:id="rId3"/>
    <p:sldLayoutId id="2147484437" r:id="rId4"/>
    <p:sldLayoutId id="2147484438" r:id="rId5"/>
    <p:sldLayoutId id="2147484439" r:id="rId6"/>
    <p:sldLayoutId id="2147484440" r:id="rId7"/>
    <p:sldLayoutId id="2147484441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0348240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99726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68550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4135839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08942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05149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Google Shape;298;p38"/>
          <p:cNvSpPr/>
          <p:nvPr/>
        </p:nvSpPr>
        <p:spPr>
          <a:xfrm>
            <a:off x="0" y="0"/>
            <a:ext cx="12192000" cy="14288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2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9" name="Google Shape;299;p38"/>
          <p:cNvSpPr txBox="1">
            <a:spLocks noGrp="1"/>
          </p:cNvSpPr>
          <p:nvPr>
            <p:ph type="title"/>
          </p:nvPr>
        </p:nvSpPr>
        <p:spPr>
          <a:xfrm>
            <a:off x="609600" y="214291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2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0" name="Google Shape;300;p38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1" name="Google Shape;301;p38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2" name="Google Shape;302;p38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3" name="Google Shape;303;p38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96969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4" name="Google Shape;304;p38"/>
          <p:cNvPicPr preferRelativeResize="0"/>
          <p:nvPr/>
        </p:nvPicPr>
        <p:blipFill rotWithShape="1">
          <a:blip r:embed="rId24" cstate="print">
            <a:alphaModFix/>
          </a:blip>
          <a:srcRect/>
          <a:stretch/>
        </p:blipFill>
        <p:spPr>
          <a:xfrm>
            <a:off x="380960" y="6286636"/>
            <a:ext cx="2952768" cy="4710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158412724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6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51597946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18158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63665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6" r:id="rId6"/>
    <p:sldLayoutId id="2147484467" r:id="rId7"/>
    <p:sldLayoutId id="2147484468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791786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30445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07245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0" r:id="rId1"/>
    <p:sldLayoutId id="2147484471" r:id="rId2"/>
    <p:sldLayoutId id="2147484472" r:id="rId3"/>
    <p:sldLayoutId id="2147484473" r:id="rId4"/>
    <p:sldLayoutId id="2147484474" r:id="rId5"/>
    <p:sldLayoutId id="2147484475" r:id="rId6"/>
    <p:sldLayoutId id="2147484476" r:id="rId7"/>
    <p:sldLayoutId id="2147484477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56062850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39661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4854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9" r:id="rId1"/>
    <p:sldLayoutId id="2147484480" r:id="rId2"/>
    <p:sldLayoutId id="2147484481" r:id="rId3"/>
    <p:sldLayoutId id="2147484482" r:id="rId4"/>
    <p:sldLayoutId id="2147484483" r:id="rId5"/>
    <p:sldLayoutId id="2147484484" r:id="rId6"/>
    <p:sldLayoutId id="2147484485" r:id="rId7"/>
    <p:sldLayoutId id="2147484486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93078808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49895" name="think-cell Slide" r:id="rId7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6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6075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7" r:id="rId1"/>
    <p:sldLayoutId id="2147484888" r:id="rId2"/>
    <p:sldLayoutId id="2147484889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4767138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53991" name="think-cell Slide" r:id="rId7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6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598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72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53951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1" r:id="rId1"/>
    <p:sldLayoutId id="2147484892" r:id="rId2"/>
    <p:sldLayoutId id="2147484893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6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A778BF-2732-4F46-9320-92F300727B66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44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447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2A96496-71A8-4D05-9D6F-7F522810ADBD}" type="slidenum">
              <a:rPr lang="ru-RU" altLang="ru-RU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80086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5" r:id="rId1"/>
    <p:sldLayoutId id="2147484896" r:id="rId2"/>
    <p:sldLayoutId id="2147484897" r:id="rId3"/>
    <p:sldLayoutId id="2147484898" r:id="rId4"/>
    <p:sldLayoutId id="2147484899" r:id="rId5"/>
    <p:sldLayoutId id="2147484900" r:id="rId6"/>
    <p:sldLayoutId id="2147484901" r:id="rId7"/>
    <p:sldLayoutId id="2147484902" r:id="rId8"/>
    <p:sldLayoutId id="2147484903" r:id="rId9"/>
    <p:sldLayoutId id="2147484904" r:id="rId10"/>
    <p:sldLayoutId id="214748490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2" y="6237375"/>
            <a:ext cx="400050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28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9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4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3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B691104-2043-43E1-9C7D-AB81F0E2013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3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37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FE95514-E641-4C56-AC0D-60CCB3D8D534}" type="slidenum">
              <a:rPr lang="ru-RU" alt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02510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7" r:id="rId1"/>
    <p:sldLayoutId id="2147484958" r:id="rId2"/>
    <p:sldLayoutId id="2147484959" r:id="rId3"/>
    <p:sldLayoutId id="2147484960" r:id="rId4"/>
    <p:sldLayoutId id="2147484961" r:id="rId5"/>
    <p:sldLayoutId id="2147484962" r:id="rId6"/>
    <p:sldLayoutId id="2147484963" r:id="rId7"/>
    <p:sldLayoutId id="2147484964" r:id="rId8"/>
    <p:sldLayoutId id="2147484965" r:id="rId9"/>
    <p:sldLayoutId id="2147484966" r:id="rId10"/>
    <p:sldLayoutId id="2147484967" r:id="rId11"/>
    <p:sldLayoutId id="2147484968" r:id="rId12"/>
    <p:sldLayoutId id="2147484969" r:id="rId13"/>
    <p:sldLayoutId id="2147484970" r:id="rId14"/>
    <p:sldLayoutId id="2147484971" r:id="rId15"/>
    <p:sldLayoutId id="2147484972" r:id="rId16"/>
    <p:sldLayoutId id="2147484973" r:id="rId17"/>
    <p:sldLayoutId id="2147484974" r:id="rId18"/>
    <p:sldLayoutId id="2147484975" r:id="rId19"/>
    <p:sldLayoutId id="2147484976" r:id="rId20"/>
    <p:sldLayoutId id="2147484977" r:id="rId21"/>
    <p:sldLayoutId id="2147484978" r:id="rId22"/>
    <p:sldLayoutId id="2147484979" r:id="rId23"/>
    <p:sldLayoutId id="2147484980" r:id="rId2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075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3076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4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9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515151">
                    <a:tint val="75000"/>
                  </a:srgb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86A4F369-3E02-4EBE-8A16-C4E764D692A7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9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515151">
                    <a:tint val="75000"/>
                  </a:srgb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9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979797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A210149-2753-405D-BBB2-93E72647D0DF}" type="slidenum">
              <a:rPr lang="ru-RU" alt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cs typeface="Arial" charset="0"/>
            </a:endParaRPr>
          </a:p>
        </p:txBody>
      </p:sp>
      <p:pic>
        <p:nvPicPr>
          <p:cNvPr id="3080" name="Picture 6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12" y="6286500"/>
            <a:ext cx="2952751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143901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2" r:id="rId1"/>
    <p:sldLayoutId id="2147484983" r:id="rId2"/>
    <p:sldLayoutId id="2147484984" r:id="rId3"/>
    <p:sldLayoutId id="2147484985" r:id="rId4"/>
    <p:sldLayoutId id="2147484986" r:id="rId5"/>
    <p:sldLayoutId id="2147484987" r:id="rId6"/>
    <p:sldLayoutId id="2147484988" r:id="rId7"/>
    <p:sldLayoutId id="2147484989" r:id="rId8"/>
    <p:sldLayoutId id="2147484990" r:id="rId9"/>
    <p:sldLayoutId id="2147484991" r:id="rId10"/>
    <p:sldLayoutId id="2147484992" r:id="rId11"/>
    <p:sldLayoutId id="2147484993" r:id="rId12"/>
    <p:sldLayoutId id="2147484994" r:id="rId13"/>
    <p:sldLayoutId id="2147484995" r:id="rId14"/>
    <p:sldLayoutId id="2147484996" r:id="rId15"/>
    <p:sldLayoutId id="2147484997" r:id="rId16"/>
    <p:sldLayoutId id="2147484998" r:id="rId17"/>
    <p:sldLayoutId id="2147484999" r:id="rId18"/>
    <p:sldLayoutId id="2147485000" r:id="rId19"/>
    <p:sldLayoutId id="2147485001" r:id="rId20"/>
    <p:sldLayoutId id="2147485002" r:id="rId21"/>
    <p:sldLayoutId id="2147485003" r:id="rId22"/>
    <p:sldLayoutId id="2147485004" r:id="rId23"/>
    <p:sldLayoutId id="2147485005" r:id="rId24"/>
    <p:sldLayoutId id="2147485006" r:id="rId25"/>
  </p:sldLayoutIdLst>
  <p:timing>
    <p:tnLst>
      <p:par>
        <p:cTn id="1" dur="indefinite" restart="never" nodeType="tmRoot"/>
      </p:par>
    </p:tnLst>
  </p:timing>
  <p:txStyles>
    <p:titleStyle>
      <a:lvl1pPr algn="l" defTabSz="912813" rtl="0" fontAlgn="base"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2pPr>
      <a:lvl3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3pPr>
      <a:lvl4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4pPr>
      <a:lvl5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9pPr>
    </p:titleStyle>
    <p:bodyStyle>
      <a:lvl1pPr marL="179388" indent="-179388" algn="l" defTabSz="912813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defTabSz="912813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099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1431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4100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515151">
                    <a:tint val="75000"/>
                  </a:srgb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3C11C43F-6AA8-4EC6-A6AC-2F346E8554A7}" type="datetimeFigureOut">
              <a:rPr lang="ru-RU"/>
              <a:pPr>
                <a:defRPr/>
              </a:pPr>
              <a:t>26.04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515151">
                    <a:tint val="75000"/>
                  </a:srgb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979797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5441C12-4518-422B-8FD9-C1F951747E9C}" type="slidenum">
              <a:rPr lang="ru-RU" alt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cs typeface="Arial" charset="0"/>
            </a:endParaRPr>
          </a:p>
        </p:txBody>
      </p:sp>
      <p:pic>
        <p:nvPicPr>
          <p:cNvPr id="4104" name="Picture 6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1" y="6286500"/>
            <a:ext cx="2952751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404132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8" r:id="rId1"/>
    <p:sldLayoutId id="2147485009" r:id="rId2"/>
    <p:sldLayoutId id="2147485010" r:id="rId3"/>
    <p:sldLayoutId id="2147485011" r:id="rId4"/>
    <p:sldLayoutId id="2147485012" r:id="rId5"/>
    <p:sldLayoutId id="2147485013" r:id="rId6"/>
    <p:sldLayoutId id="2147485014" r:id="rId7"/>
    <p:sldLayoutId id="2147485015" r:id="rId8"/>
    <p:sldLayoutId id="2147485016" r:id="rId9"/>
    <p:sldLayoutId id="2147485017" r:id="rId10"/>
    <p:sldLayoutId id="2147485018" r:id="rId11"/>
    <p:sldLayoutId id="2147485019" r:id="rId12"/>
    <p:sldLayoutId id="2147485020" r:id="rId13"/>
    <p:sldLayoutId id="2147485021" r:id="rId14"/>
    <p:sldLayoutId id="2147485022" r:id="rId15"/>
    <p:sldLayoutId id="2147485023" r:id="rId16"/>
    <p:sldLayoutId id="2147485024" r:id="rId17"/>
    <p:sldLayoutId id="2147485025" r:id="rId18"/>
    <p:sldLayoutId id="2147485026" r:id="rId19"/>
    <p:sldLayoutId id="2147485027" r:id="rId20"/>
    <p:sldLayoutId id="2147485028" r:id="rId21"/>
    <p:sldLayoutId id="2147485029" r:id="rId22"/>
    <p:sldLayoutId id="2147485030" r:id="rId23"/>
    <p:sldLayoutId id="2147485031" r:id="rId24"/>
    <p:sldLayoutId id="2147485032" r:id="rId25"/>
  </p:sldLayoutIdLst>
  <p:timing>
    <p:tnLst>
      <p:par>
        <p:cTn id="1" dur="indefinite" restart="never" nodeType="tmRoot"/>
      </p:par>
    </p:tnLst>
  </p:timing>
  <p:txStyles>
    <p:titleStyle>
      <a:lvl1pPr algn="l" defTabSz="912813" rtl="0" fontAlgn="base"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2pPr>
      <a:lvl3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3pPr>
      <a:lvl4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4pPr>
      <a:lvl5pPr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9pPr>
    </p:titleStyle>
    <p:bodyStyle>
      <a:lvl1pPr marL="179388" indent="-179388" algn="l" defTabSz="912813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defTabSz="912813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19442495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364567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3005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5573292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373783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48397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7389294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382999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0503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8068051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392215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07104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5625541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01431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63552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4934016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12695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7676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76325148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21911" name="think-cell Slide" r:id="rId12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610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584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55752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jpeg"/><Relationship Id="rId18" Type="http://schemas.openxmlformats.org/officeDocument/2006/relationships/image" Target="../media/image3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jpeg"/><Relationship Id="rId12" Type="http://schemas.openxmlformats.org/officeDocument/2006/relationships/image" Target="../media/image30.jpeg"/><Relationship Id="rId17" Type="http://schemas.openxmlformats.org/officeDocument/2006/relationships/image" Target="../media/image35.jpeg"/><Relationship Id="rId2" Type="http://schemas.openxmlformats.org/officeDocument/2006/relationships/tags" Target="../tags/tag202.xml"/><Relationship Id="rId16" Type="http://schemas.openxmlformats.org/officeDocument/2006/relationships/image" Target="../media/image34.png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8.png"/><Relationship Id="rId11" Type="http://schemas.openxmlformats.org/officeDocument/2006/relationships/image" Target="../media/image29.jpeg"/><Relationship Id="rId5" Type="http://schemas.openxmlformats.org/officeDocument/2006/relationships/image" Target="../media/image3.emf"/><Relationship Id="rId15" Type="http://schemas.openxmlformats.org/officeDocument/2006/relationships/image" Target="../media/image33.png"/><Relationship Id="rId10" Type="http://schemas.openxmlformats.org/officeDocument/2006/relationships/image" Target="../media/image28.jpeg"/><Relationship Id="rId19" Type="http://schemas.openxmlformats.org/officeDocument/2006/relationships/image" Target="../media/image37.png"/><Relationship Id="rId4" Type="http://schemas.openxmlformats.org/officeDocument/2006/relationships/oleObject" Target="../embeddings/oleObject179.bin"/><Relationship Id="rId9" Type="http://schemas.openxmlformats.org/officeDocument/2006/relationships/image" Target="../media/image27.jpeg"/><Relationship Id="rId14" Type="http://schemas.openxmlformats.org/officeDocument/2006/relationships/image" Target="../media/image3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26" Type="http://schemas.openxmlformats.org/officeDocument/2006/relationships/image" Target="../media/image34.png"/><Relationship Id="rId3" Type="http://schemas.openxmlformats.org/officeDocument/2006/relationships/slideLayout" Target="../slideLayouts/slideLayout337.xml"/><Relationship Id="rId21" Type="http://schemas.openxmlformats.org/officeDocument/2006/relationships/image" Target="../media/image63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5" Type="http://schemas.openxmlformats.org/officeDocument/2006/relationships/image" Target="../media/image67.png"/><Relationship Id="rId2" Type="http://schemas.openxmlformats.org/officeDocument/2006/relationships/tags" Target="../tags/tag209.xml"/><Relationship Id="rId16" Type="http://schemas.openxmlformats.org/officeDocument/2006/relationships/image" Target="../media/image58.png"/><Relationship Id="rId20" Type="http://schemas.openxmlformats.org/officeDocument/2006/relationships/image" Target="../media/image62.png"/><Relationship Id="rId29" Type="http://schemas.openxmlformats.org/officeDocument/2006/relationships/image" Target="../media/image70.png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24" Type="http://schemas.openxmlformats.org/officeDocument/2006/relationships/image" Target="../media/image66.png"/><Relationship Id="rId5" Type="http://schemas.openxmlformats.org/officeDocument/2006/relationships/oleObject" Target="../embeddings/oleObject187.bin"/><Relationship Id="rId15" Type="http://schemas.openxmlformats.org/officeDocument/2006/relationships/image" Target="../media/image57.jpeg"/><Relationship Id="rId23" Type="http://schemas.openxmlformats.org/officeDocument/2006/relationships/image" Target="../media/image65.png"/><Relationship Id="rId28" Type="http://schemas.openxmlformats.org/officeDocument/2006/relationships/image" Target="../media/image69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31" Type="http://schemas.openxmlformats.org/officeDocument/2006/relationships/image" Target="../media/image72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51.png"/><Relationship Id="rId14" Type="http://schemas.openxmlformats.org/officeDocument/2006/relationships/image" Target="../media/image56.jpeg"/><Relationship Id="rId22" Type="http://schemas.openxmlformats.org/officeDocument/2006/relationships/image" Target="../media/image64.png"/><Relationship Id="rId27" Type="http://schemas.openxmlformats.org/officeDocument/2006/relationships/image" Target="../media/image68.jpeg"/><Relationship Id="rId30" Type="http://schemas.openxmlformats.org/officeDocument/2006/relationships/image" Target="../media/image7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13" Type="http://schemas.openxmlformats.org/officeDocument/2006/relationships/image" Target="../media/image81.jpeg"/><Relationship Id="rId18" Type="http://schemas.openxmlformats.org/officeDocument/2006/relationships/image" Target="../media/image85.jpeg"/><Relationship Id="rId3" Type="http://schemas.openxmlformats.org/officeDocument/2006/relationships/slideLayout" Target="../slideLayouts/slideLayout345.xml"/><Relationship Id="rId21" Type="http://schemas.openxmlformats.org/officeDocument/2006/relationships/image" Target="../media/image88.png"/><Relationship Id="rId7" Type="http://schemas.openxmlformats.org/officeDocument/2006/relationships/image" Target="../media/image75.jpeg"/><Relationship Id="rId12" Type="http://schemas.openxmlformats.org/officeDocument/2006/relationships/image" Target="../media/image80.jpeg"/><Relationship Id="rId17" Type="http://schemas.openxmlformats.org/officeDocument/2006/relationships/image" Target="../media/image84.jpeg"/><Relationship Id="rId2" Type="http://schemas.openxmlformats.org/officeDocument/2006/relationships/tags" Target="../tags/tag210.xml"/><Relationship Id="rId16" Type="http://schemas.openxmlformats.org/officeDocument/2006/relationships/image" Target="../media/image83.jpeg"/><Relationship Id="rId20" Type="http://schemas.openxmlformats.org/officeDocument/2006/relationships/image" Target="../media/image87.png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74.jpeg"/><Relationship Id="rId11" Type="http://schemas.openxmlformats.org/officeDocument/2006/relationships/image" Target="../media/image79.jpeg"/><Relationship Id="rId5" Type="http://schemas.openxmlformats.org/officeDocument/2006/relationships/image" Target="../media/image73.jpeg"/><Relationship Id="rId15" Type="http://schemas.openxmlformats.org/officeDocument/2006/relationships/hyperlink" Target="https://rosuchebnik.ru/product/biologiya-9klass-uchebnik-429048/" TargetMode="External"/><Relationship Id="rId10" Type="http://schemas.openxmlformats.org/officeDocument/2006/relationships/image" Target="../media/image78.jpeg"/><Relationship Id="rId19" Type="http://schemas.openxmlformats.org/officeDocument/2006/relationships/image" Target="../media/image86.png"/><Relationship Id="rId4" Type="http://schemas.openxmlformats.org/officeDocument/2006/relationships/oleObject" Target="../embeddings/oleObject188.bin"/><Relationship Id="rId9" Type="http://schemas.openxmlformats.org/officeDocument/2006/relationships/image" Target="../media/image77.jpeg"/><Relationship Id="rId14" Type="http://schemas.openxmlformats.org/officeDocument/2006/relationships/image" Target="../media/image82.jpeg"/><Relationship Id="rId22" Type="http://schemas.openxmlformats.org/officeDocument/2006/relationships/image" Target="../media/image8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3" Type="http://schemas.openxmlformats.org/officeDocument/2006/relationships/slideLayout" Target="../slideLayouts/slideLayout353.xml"/><Relationship Id="rId7" Type="http://schemas.openxmlformats.org/officeDocument/2006/relationships/image" Target="../media/image92.jpeg"/><Relationship Id="rId2" Type="http://schemas.openxmlformats.org/officeDocument/2006/relationships/tags" Target="../tags/tag211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91.jpeg"/><Relationship Id="rId11" Type="http://schemas.openxmlformats.org/officeDocument/2006/relationships/image" Target="../media/image72.png"/><Relationship Id="rId5" Type="http://schemas.openxmlformats.org/officeDocument/2006/relationships/image" Target="../media/image90.jpeg"/><Relationship Id="rId10" Type="http://schemas.openxmlformats.org/officeDocument/2006/relationships/image" Target="../media/image48.png"/><Relationship Id="rId4" Type="http://schemas.openxmlformats.org/officeDocument/2006/relationships/oleObject" Target="../embeddings/oleObject189.bin"/><Relationship Id="rId9" Type="http://schemas.openxmlformats.org/officeDocument/2006/relationships/image" Target="../media/image9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0.bin"/><Relationship Id="rId13" Type="http://schemas.openxmlformats.org/officeDocument/2006/relationships/image" Target="../media/image29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8.jpeg"/><Relationship Id="rId12" Type="http://schemas.openxmlformats.org/officeDocument/2006/relationships/image" Target="../media/image28.jpeg"/><Relationship Id="rId2" Type="http://schemas.openxmlformats.org/officeDocument/2006/relationships/tags" Target="../tags/tag212.xml"/><Relationship Id="rId16" Type="http://schemas.openxmlformats.org/officeDocument/2006/relationships/image" Target="../media/image101.emf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97.jpeg"/><Relationship Id="rId11" Type="http://schemas.openxmlformats.org/officeDocument/2006/relationships/image" Target="../media/image27.jpeg"/><Relationship Id="rId5" Type="http://schemas.openxmlformats.org/officeDocument/2006/relationships/image" Target="../media/image96.jpeg"/><Relationship Id="rId15" Type="http://schemas.openxmlformats.org/officeDocument/2006/relationships/image" Target="../media/image100.emf"/><Relationship Id="rId10" Type="http://schemas.openxmlformats.org/officeDocument/2006/relationships/image" Target="../media/image26.jpe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5.jpeg"/><Relationship Id="rId14" Type="http://schemas.openxmlformats.org/officeDocument/2006/relationships/image" Target="../media/image99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jpeg"/><Relationship Id="rId13" Type="http://schemas.openxmlformats.org/officeDocument/2006/relationships/image" Target="../media/image31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4.jpeg"/><Relationship Id="rId12" Type="http://schemas.openxmlformats.org/officeDocument/2006/relationships/image" Target="../media/image30.jpeg"/><Relationship Id="rId2" Type="http://schemas.openxmlformats.org/officeDocument/2006/relationships/tags" Target="../tags/tag213.xml"/><Relationship Id="rId16" Type="http://schemas.openxmlformats.org/officeDocument/2006/relationships/image" Target="../media/image107.jpeg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103.jpeg"/><Relationship Id="rId11" Type="http://schemas.openxmlformats.org/officeDocument/2006/relationships/image" Target="../media/image106.emf"/><Relationship Id="rId5" Type="http://schemas.openxmlformats.org/officeDocument/2006/relationships/image" Target="../media/image102.jpeg"/><Relationship Id="rId15" Type="http://schemas.openxmlformats.org/officeDocument/2006/relationships/image" Target="../media/image35.jpeg"/><Relationship Id="rId10" Type="http://schemas.openxmlformats.org/officeDocument/2006/relationships/image" Target="../media/image100.emf"/><Relationship Id="rId4" Type="http://schemas.openxmlformats.org/officeDocument/2006/relationships/notesSlide" Target="../notesSlides/notesSlide12.xml"/><Relationship Id="rId9" Type="http://schemas.openxmlformats.org/officeDocument/2006/relationships/oleObject" Target="../embeddings/oleObject191.bin"/><Relationship Id="rId14" Type="http://schemas.openxmlformats.org/officeDocument/2006/relationships/image" Target="../media/image32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4.png"/><Relationship Id="rId12" Type="http://schemas.openxmlformats.org/officeDocument/2006/relationships/image" Target="../media/image109.emf"/><Relationship Id="rId2" Type="http://schemas.openxmlformats.org/officeDocument/2006/relationships/tags" Target="../tags/tag214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63.png"/><Relationship Id="rId11" Type="http://schemas.openxmlformats.org/officeDocument/2006/relationships/image" Target="../media/image108.jpeg"/><Relationship Id="rId5" Type="http://schemas.openxmlformats.org/officeDocument/2006/relationships/oleObject" Target="../embeddings/oleObject192.bin"/><Relationship Id="rId10" Type="http://schemas.openxmlformats.org/officeDocument/2006/relationships/image" Target="../media/image50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9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93.jpeg"/><Relationship Id="rId12" Type="http://schemas.openxmlformats.org/officeDocument/2006/relationships/image" Target="../media/image119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114.jpeg"/><Relationship Id="rId11" Type="http://schemas.openxmlformats.org/officeDocument/2006/relationships/image" Target="../media/image118.png"/><Relationship Id="rId5" Type="http://schemas.openxmlformats.org/officeDocument/2006/relationships/oleObject" Target="../embeddings/oleObject193.bin"/><Relationship Id="rId10" Type="http://schemas.openxmlformats.org/officeDocument/2006/relationships/image" Target="../media/image117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93.jpeg"/><Relationship Id="rId2" Type="http://schemas.openxmlformats.org/officeDocument/2006/relationships/tags" Target="../tags/tag216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120.jpeg"/><Relationship Id="rId11" Type="http://schemas.openxmlformats.org/officeDocument/2006/relationships/image" Target="../media/image124.png"/><Relationship Id="rId5" Type="http://schemas.openxmlformats.org/officeDocument/2006/relationships/oleObject" Target="../embeddings/oleObject194.bin"/><Relationship Id="rId10" Type="http://schemas.openxmlformats.org/officeDocument/2006/relationships/image" Target="../media/image123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12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128.png"/><Relationship Id="rId4" Type="http://schemas.openxmlformats.org/officeDocument/2006/relationships/image" Target="../media/image12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71.xml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80.xml"/><Relationship Id="rId5" Type="http://schemas.openxmlformats.org/officeDocument/2006/relationships/image" Target="../media/image136.png"/><Relationship Id="rId4" Type="http://schemas.openxmlformats.org/officeDocument/2006/relationships/image" Target="../media/image13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0.png"/><Relationship Id="rId4" Type="http://schemas.openxmlformats.org/officeDocument/2006/relationships/image" Target="../media/image1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144.png"/><Relationship Id="rId4" Type="http://schemas.openxmlformats.org/officeDocument/2006/relationships/image" Target="../media/image14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101.xml"/><Relationship Id="rId5" Type="http://schemas.openxmlformats.org/officeDocument/2006/relationships/image" Target="../media/image148.png"/><Relationship Id="rId4" Type="http://schemas.openxmlformats.org/officeDocument/2006/relationships/image" Target="../media/image14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png"/><Relationship Id="rId13" Type="http://schemas.openxmlformats.org/officeDocument/2006/relationships/image" Target="../media/image156.png"/><Relationship Id="rId18" Type="http://schemas.openxmlformats.org/officeDocument/2006/relationships/image" Target="../media/image161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64.png"/><Relationship Id="rId7" Type="http://schemas.openxmlformats.org/officeDocument/2006/relationships/image" Target="../media/image150.png"/><Relationship Id="rId12" Type="http://schemas.openxmlformats.org/officeDocument/2006/relationships/image" Target="../media/image155.jpeg"/><Relationship Id="rId17" Type="http://schemas.openxmlformats.org/officeDocument/2006/relationships/image" Target="../media/image160.png"/><Relationship Id="rId2" Type="http://schemas.openxmlformats.org/officeDocument/2006/relationships/tags" Target="../tags/tag217.xml"/><Relationship Id="rId16" Type="http://schemas.openxmlformats.org/officeDocument/2006/relationships/image" Target="../media/image159.jpeg"/><Relationship Id="rId20" Type="http://schemas.openxmlformats.org/officeDocument/2006/relationships/image" Target="../media/image163.jpeg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149.png"/><Relationship Id="rId11" Type="http://schemas.openxmlformats.org/officeDocument/2006/relationships/image" Target="../media/image154.png"/><Relationship Id="rId5" Type="http://schemas.openxmlformats.org/officeDocument/2006/relationships/oleObject" Target="../embeddings/oleObject195.bin"/><Relationship Id="rId15" Type="http://schemas.openxmlformats.org/officeDocument/2006/relationships/image" Target="../media/image158.jpeg"/><Relationship Id="rId10" Type="http://schemas.openxmlformats.org/officeDocument/2006/relationships/image" Target="../media/image153.png"/><Relationship Id="rId19" Type="http://schemas.openxmlformats.org/officeDocument/2006/relationships/image" Target="../media/image162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52.png"/><Relationship Id="rId14" Type="http://schemas.openxmlformats.org/officeDocument/2006/relationships/image" Target="../media/image15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emf"/><Relationship Id="rId2" Type="http://schemas.openxmlformats.org/officeDocument/2006/relationships/image" Target="../media/image165.emf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169.emf"/><Relationship Id="rId5" Type="http://schemas.openxmlformats.org/officeDocument/2006/relationships/image" Target="../media/image168.emf"/><Relationship Id="rId4" Type="http://schemas.openxmlformats.org/officeDocument/2006/relationships/image" Target="../media/image167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2.png"/><Relationship Id="rId13" Type="http://schemas.openxmlformats.org/officeDocument/2006/relationships/image" Target="../media/image177.png"/><Relationship Id="rId18" Type="http://schemas.openxmlformats.org/officeDocument/2006/relationships/image" Target="../media/image182.jpe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52.png"/><Relationship Id="rId7" Type="http://schemas.openxmlformats.org/officeDocument/2006/relationships/image" Target="../media/image171.jpeg"/><Relationship Id="rId12" Type="http://schemas.openxmlformats.org/officeDocument/2006/relationships/image" Target="../media/image176.png"/><Relationship Id="rId17" Type="http://schemas.openxmlformats.org/officeDocument/2006/relationships/image" Target="../media/image181.png"/><Relationship Id="rId25" Type="http://schemas.openxmlformats.org/officeDocument/2006/relationships/image" Target="../media/image153.png"/><Relationship Id="rId2" Type="http://schemas.openxmlformats.org/officeDocument/2006/relationships/tags" Target="../tags/tag218.xml"/><Relationship Id="rId16" Type="http://schemas.openxmlformats.org/officeDocument/2006/relationships/image" Target="../media/image180.jpeg"/><Relationship Id="rId20" Type="http://schemas.openxmlformats.org/officeDocument/2006/relationships/image" Target="../media/image151.png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70.png"/><Relationship Id="rId11" Type="http://schemas.openxmlformats.org/officeDocument/2006/relationships/image" Target="../media/image175.jpeg"/><Relationship Id="rId24" Type="http://schemas.openxmlformats.org/officeDocument/2006/relationships/image" Target="../media/image184.png"/><Relationship Id="rId5" Type="http://schemas.openxmlformats.org/officeDocument/2006/relationships/oleObject" Target="../embeddings/oleObject196.bin"/><Relationship Id="rId15" Type="http://schemas.openxmlformats.org/officeDocument/2006/relationships/image" Target="../media/image179.jpeg"/><Relationship Id="rId23" Type="http://schemas.openxmlformats.org/officeDocument/2006/relationships/image" Target="../media/image149.png"/><Relationship Id="rId10" Type="http://schemas.openxmlformats.org/officeDocument/2006/relationships/image" Target="../media/image174.png"/><Relationship Id="rId19" Type="http://schemas.openxmlformats.org/officeDocument/2006/relationships/image" Target="../media/image183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173.png"/><Relationship Id="rId14" Type="http://schemas.openxmlformats.org/officeDocument/2006/relationships/image" Target="../media/image178.png"/><Relationship Id="rId22" Type="http://schemas.openxmlformats.org/officeDocument/2006/relationships/image" Target="../media/image16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80.vml"/><Relationship Id="rId5" Type="http://schemas.openxmlformats.org/officeDocument/2006/relationships/oleObject" Target="../embeddings/oleObject180.bin"/><Relationship Id="rId4" Type="http://schemas.openxmlformats.org/officeDocument/2006/relationships/image" Target="../media/image38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5.png"/><Relationship Id="rId12" Type="http://schemas.openxmlformats.org/officeDocument/2006/relationships/image" Target="../media/image189.jpeg"/><Relationship Id="rId2" Type="http://schemas.openxmlformats.org/officeDocument/2006/relationships/tags" Target="../tags/tag219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109.emf"/><Relationship Id="rId11" Type="http://schemas.openxmlformats.org/officeDocument/2006/relationships/image" Target="../media/image188.jpeg"/><Relationship Id="rId5" Type="http://schemas.openxmlformats.org/officeDocument/2006/relationships/oleObject" Target="../embeddings/oleObject197.bin"/><Relationship Id="rId10" Type="http://schemas.openxmlformats.org/officeDocument/2006/relationships/image" Target="../media/image187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8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2.jpeg"/><Relationship Id="rId13" Type="http://schemas.openxmlformats.org/officeDocument/2006/relationships/image" Target="../media/image197.jpeg"/><Relationship Id="rId18" Type="http://schemas.openxmlformats.org/officeDocument/2006/relationships/image" Target="../media/image202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50.png"/><Relationship Id="rId7" Type="http://schemas.openxmlformats.org/officeDocument/2006/relationships/image" Target="../media/image191.png"/><Relationship Id="rId12" Type="http://schemas.openxmlformats.org/officeDocument/2006/relationships/image" Target="../media/image196.jpeg"/><Relationship Id="rId17" Type="http://schemas.openxmlformats.org/officeDocument/2006/relationships/image" Target="../media/image201.png"/><Relationship Id="rId2" Type="http://schemas.openxmlformats.org/officeDocument/2006/relationships/tags" Target="../tags/tag220.xml"/><Relationship Id="rId16" Type="http://schemas.openxmlformats.org/officeDocument/2006/relationships/image" Target="../media/image200.png"/><Relationship Id="rId20" Type="http://schemas.openxmlformats.org/officeDocument/2006/relationships/image" Target="../media/image204.png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190.png"/><Relationship Id="rId11" Type="http://schemas.openxmlformats.org/officeDocument/2006/relationships/image" Target="../media/image195.jpeg"/><Relationship Id="rId5" Type="http://schemas.openxmlformats.org/officeDocument/2006/relationships/oleObject" Target="../embeddings/oleObject198.bin"/><Relationship Id="rId15" Type="http://schemas.openxmlformats.org/officeDocument/2006/relationships/image" Target="../media/image199.jpeg"/><Relationship Id="rId10" Type="http://schemas.openxmlformats.org/officeDocument/2006/relationships/image" Target="../media/image194.jpeg"/><Relationship Id="rId19" Type="http://schemas.openxmlformats.org/officeDocument/2006/relationships/image" Target="../media/image203.jpe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93.jpeg"/><Relationship Id="rId14" Type="http://schemas.openxmlformats.org/officeDocument/2006/relationships/image" Target="../media/image198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6.jpeg"/><Relationship Id="rId13" Type="http://schemas.openxmlformats.org/officeDocument/2006/relationships/image" Target="../media/image2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5.png"/><Relationship Id="rId12" Type="http://schemas.openxmlformats.org/officeDocument/2006/relationships/image" Target="../media/image210.png"/><Relationship Id="rId2" Type="http://schemas.openxmlformats.org/officeDocument/2006/relationships/tags" Target="../tags/tag221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149.png"/><Relationship Id="rId11" Type="http://schemas.openxmlformats.org/officeDocument/2006/relationships/image" Target="../media/image209.png"/><Relationship Id="rId5" Type="http://schemas.openxmlformats.org/officeDocument/2006/relationships/oleObject" Target="../embeddings/oleObject199.bin"/><Relationship Id="rId15" Type="http://schemas.openxmlformats.org/officeDocument/2006/relationships/image" Target="../media/image150.png"/><Relationship Id="rId10" Type="http://schemas.openxmlformats.org/officeDocument/2006/relationships/image" Target="../media/image208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207.jpeg"/><Relationship Id="rId14" Type="http://schemas.openxmlformats.org/officeDocument/2006/relationships/image" Target="../media/image212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2.jpeg"/><Relationship Id="rId13" Type="http://schemas.openxmlformats.org/officeDocument/2006/relationships/image" Target="../media/image217.jpeg"/><Relationship Id="rId18" Type="http://schemas.openxmlformats.org/officeDocument/2006/relationships/image" Target="../media/image2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1.png"/><Relationship Id="rId12" Type="http://schemas.openxmlformats.org/officeDocument/2006/relationships/image" Target="../media/image216.png"/><Relationship Id="rId17" Type="http://schemas.openxmlformats.org/officeDocument/2006/relationships/image" Target="../media/image221.jpeg"/><Relationship Id="rId2" Type="http://schemas.openxmlformats.org/officeDocument/2006/relationships/tags" Target="../tags/tag222.xml"/><Relationship Id="rId16" Type="http://schemas.openxmlformats.org/officeDocument/2006/relationships/image" Target="../media/image220.png"/><Relationship Id="rId20" Type="http://schemas.openxmlformats.org/officeDocument/2006/relationships/image" Target="../media/image150.png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190.png"/><Relationship Id="rId11" Type="http://schemas.openxmlformats.org/officeDocument/2006/relationships/image" Target="../media/image215.png"/><Relationship Id="rId5" Type="http://schemas.openxmlformats.org/officeDocument/2006/relationships/oleObject" Target="../embeddings/oleObject200.bin"/><Relationship Id="rId15" Type="http://schemas.openxmlformats.org/officeDocument/2006/relationships/image" Target="../media/image219.jpeg"/><Relationship Id="rId10" Type="http://schemas.openxmlformats.org/officeDocument/2006/relationships/image" Target="../media/image214.png"/><Relationship Id="rId19" Type="http://schemas.openxmlformats.org/officeDocument/2006/relationships/image" Target="../media/image223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213.png"/><Relationship Id="rId14" Type="http://schemas.openxmlformats.org/officeDocument/2006/relationships/image" Target="../media/image218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6.jpeg"/><Relationship Id="rId13" Type="http://schemas.openxmlformats.org/officeDocument/2006/relationships/image" Target="../media/image22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0.png"/><Relationship Id="rId12" Type="http://schemas.openxmlformats.org/officeDocument/2006/relationships/image" Target="../media/image226.jpeg"/><Relationship Id="rId2" Type="http://schemas.openxmlformats.org/officeDocument/2006/relationships/tags" Target="../tags/tag223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149.png"/><Relationship Id="rId11" Type="http://schemas.openxmlformats.org/officeDocument/2006/relationships/image" Target="../media/image225.png"/><Relationship Id="rId5" Type="http://schemas.openxmlformats.org/officeDocument/2006/relationships/oleObject" Target="../embeddings/oleObject201.bin"/><Relationship Id="rId10" Type="http://schemas.openxmlformats.org/officeDocument/2006/relationships/image" Target="../media/image224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207.jpeg"/><Relationship Id="rId14" Type="http://schemas.openxmlformats.org/officeDocument/2006/relationships/image" Target="../media/image228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0.jpeg"/><Relationship Id="rId13" Type="http://schemas.openxmlformats.org/officeDocument/2006/relationships/image" Target="../media/image234.emf"/><Relationship Id="rId3" Type="http://schemas.openxmlformats.org/officeDocument/2006/relationships/slideLayout" Target="../slideLayouts/slideLayout361.xml"/><Relationship Id="rId7" Type="http://schemas.openxmlformats.org/officeDocument/2006/relationships/image" Target="../media/image229.jpeg"/><Relationship Id="rId12" Type="http://schemas.openxmlformats.org/officeDocument/2006/relationships/image" Target="../media/image100.emf"/><Relationship Id="rId2" Type="http://schemas.openxmlformats.org/officeDocument/2006/relationships/tags" Target="../tags/tag224.xml"/><Relationship Id="rId16" Type="http://schemas.openxmlformats.org/officeDocument/2006/relationships/image" Target="../media/image237.png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3.emf"/><Relationship Id="rId11" Type="http://schemas.openxmlformats.org/officeDocument/2006/relationships/image" Target="../media/image233.jpeg"/><Relationship Id="rId5" Type="http://schemas.openxmlformats.org/officeDocument/2006/relationships/oleObject" Target="../embeddings/oleObject202.bin"/><Relationship Id="rId15" Type="http://schemas.openxmlformats.org/officeDocument/2006/relationships/image" Target="../media/image236.png"/><Relationship Id="rId10" Type="http://schemas.openxmlformats.org/officeDocument/2006/relationships/image" Target="../media/image232.jpe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231.jpeg"/><Relationship Id="rId14" Type="http://schemas.openxmlformats.org/officeDocument/2006/relationships/image" Target="../media/image235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9.emf"/><Relationship Id="rId2" Type="http://schemas.openxmlformats.org/officeDocument/2006/relationships/image" Target="../media/image238.png"/><Relationship Id="rId1" Type="http://schemas.openxmlformats.org/officeDocument/2006/relationships/slideLayout" Target="../slideLayouts/slideLayout13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0.png"/><Relationship Id="rId1" Type="http://schemas.openxmlformats.org/officeDocument/2006/relationships/slideLayout" Target="../slideLayouts/slideLayout13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1.png"/><Relationship Id="rId1" Type="http://schemas.openxmlformats.org/officeDocument/2006/relationships/slideLayout" Target="../slideLayouts/slideLayout13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png"/><Relationship Id="rId1" Type="http://schemas.openxmlformats.org/officeDocument/2006/relationships/slideLayout" Target="../slideLayouts/slideLayout1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1.png"/><Relationship Id="rId2" Type="http://schemas.openxmlformats.org/officeDocument/2006/relationships/tags" Target="../tags/tag203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40.png"/><Relationship Id="rId5" Type="http://schemas.openxmlformats.org/officeDocument/2006/relationships/oleObject" Target="../embeddings/oleObject181.bin"/><Relationship Id="rId4" Type="http://schemas.openxmlformats.org/officeDocument/2006/relationships/notesSlide" Target="../notesSlides/notesSlide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13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4.png"/><Relationship Id="rId1" Type="http://schemas.openxmlformats.org/officeDocument/2006/relationships/slideLayout" Target="../slideLayouts/slideLayout13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12" Type="http://schemas.openxmlformats.org/officeDocument/2006/relationships/image" Target="../media/image249.png"/><Relationship Id="rId2" Type="http://schemas.openxmlformats.org/officeDocument/2006/relationships/tags" Target="../tags/tag225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33.png"/><Relationship Id="rId11" Type="http://schemas.openxmlformats.org/officeDocument/2006/relationships/image" Target="../media/image248.png"/><Relationship Id="rId5" Type="http://schemas.openxmlformats.org/officeDocument/2006/relationships/oleObject" Target="../embeddings/oleObject203.bin"/><Relationship Id="rId10" Type="http://schemas.openxmlformats.org/officeDocument/2006/relationships/image" Target="../media/image247.pn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246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9.png"/><Relationship Id="rId3" Type="http://schemas.openxmlformats.org/officeDocument/2006/relationships/slideLayout" Target="../slideLayouts/slideLayout296.xml"/><Relationship Id="rId7" Type="http://schemas.openxmlformats.org/officeDocument/2006/relationships/image" Target="../media/image34.png"/><Relationship Id="rId2" Type="http://schemas.openxmlformats.org/officeDocument/2006/relationships/tags" Target="../tags/tag226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33.png"/><Relationship Id="rId11" Type="http://schemas.openxmlformats.org/officeDocument/2006/relationships/image" Target="../media/image252.png"/><Relationship Id="rId5" Type="http://schemas.openxmlformats.org/officeDocument/2006/relationships/oleObject" Target="../embeddings/oleObject204.bin"/><Relationship Id="rId10" Type="http://schemas.openxmlformats.org/officeDocument/2006/relationships/image" Target="../media/image251.pn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25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4.png"/><Relationship Id="rId2" Type="http://schemas.openxmlformats.org/officeDocument/2006/relationships/image" Target="../media/image25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7.png"/><Relationship Id="rId5" Type="http://schemas.openxmlformats.org/officeDocument/2006/relationships/image" Target="../media/image256.png"/><Relationship Id="rId4" Type="http://schemas.openxmlformats.org/officeDocument/2006/relationships/image" Target="../media/image255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9.png"/><Relationship Id="rId3" Type="http://schemas.openxmlformats.org/officeDocument/2006/relationships/slideLayout" Target="../slideLayouts/slideLayout304.xml"/><Relationship Id="rId7" Type="http://schemas.openxmlformats.org/officeDocument/2006/relationships/image" Target="../media/image258.png"/><Relationship Id="rId2" Type="http://schemas.openxmlformats.org/officeDocument/2006/relationships/tags" Target="../tags/tag227.xml"/><Relationship Id="rId1" Type="http://schemas.openxmlformats.org/officeDocument/2006/relationships/vmlDrawing" Target="../drawings/vmlDrawing205.vml"/><Relationship Id="rId6" Type="http://schemas.openxmlformats.org/officeDocument/2006/relationships/image" Target="../media/image33.png"/><Relationship Id="rId11" Type="http://schemas.openxmlformats.org/officeDocument/2006/relationships/image" Target="../media/image261.png"/><Relationship Id="rId5" Type="http://schemas.openxmlformats.org/officeDocument/2006/relationships/oleObject" Target="../embeddings/oleObject205.bin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260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2.png"/><Relationship Id="rId3" Type="http://schemas.openxmlformats.org/officeDocument/2006/relationships/slideLayout" Target="../slideLayouts/slideLayout312.xml"/><Relationship Id="rId7" Type="http://schemas.openxmlformats.org/officeDocument/2006/relationships/image" Target="../media/image34.png"/><Relationship Id="rId2" Type="http://schemas.openxmlformats.org/officeDocument/2006/relationships/tags" Target="../tags/tag228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33.png"/><Relationship Id="rId5" Type="http://schemas.openxmlformats.org/officeDocument/2006/relationships/oleObject" Target="../embeddings/oleObject206.bin"/><Relationship Id="rId10" Type="http://schemas.openxmlformats.org/officeDocument/2006/relationships/image" Target="../media/image264.pn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263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3.png"/><Relationship Id="rId3" Type="http://schemas.openxmlformats.org/officeDocument/2006/relationships/slideLayout" Target="../slideLayouts/slideLayout320.xml"/><Relationship Id="rId7" Type="http://schemas.openxmlformats.org/officeDocument/2006/relationships/image" Target="../media/image34.png"/><Relationship Id="rId2" Type="http://schemas.openxmlformats.org/officeDocument/2006/relationships/tags" Target="../tags/tag229.xml"/><Relationship Id="rId1" Type="http://schemas.openxmlformats.org/officeDocument/2006/relationships/vmlDrawing" Target="../drawings/vmlDrawing207.vml"/><Relationship Id="rId6" Type="http://schemas.openxmlformats.org/officeDocument/2006/relationships/image" Target="../media/image33.png"/><Relationship Id="rId11" Type="http://schemas.openxmlformats.org/officeDocument/2006/relationships/image" Target="../media/image267.png"/><Relationship Id="rId5" Type="http://schemas.openxmlformats.org/officeDocument/2006/relationships/oleObject" Target="../embeddings/oleObject207.bin"/><Relationship Id="rId10" Type="http://schemas.openxmlformats.org/officeDocument/2006/relationships/image" Target="../media/image266.pn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265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8.png"/><Relationship Id="rId3" Type="http://schemas.openxmlformats.org/officeDocument/2006/relationships/slideLayout" Target="../slideLayouts/slideLayout328.xml"/><Relationship Id="rId7" Type="http://schemas.openxmlformats.org/officeDocument/2006/relationships/image" Target="../media/image34.png"/><Relationship Id="rId2" Type="http://schemas.openxmlformats.org/officeDocument/2006/relationships/tags" Target="../tags/tag230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33.png"/><Relationship Id="rId5" Type="http://schemas.openxmlformats.org/officeDocument/2006/relationships/oleObject" Target="../embeddings/oleObject208.bin"/><Relationship Id="rId10" Type="http://schemas.openxmlformats.org/officeDocument/2006/relationships/image" Target="../media/image270.png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269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2.png"/><Relationship Id="rId3" Type="http://schemas.openxmlformats.org/officeDocument/2006/relationships/slideLayout" Target="../slideLayouts/slideLayout328.xml"/><Relationship Id="rId7" Type="http://schemas.openxmlformats.org/officeDocument/2006/relationships/image" Target="../media/image271.png"/><Relationship Id="rId2" Type="http://schemas.openxmlformats.org/officeDocument/2006/relationships/tags" Target="../tags/tag231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33.png"/><Relationship Id="rId11" Type="http://schemas.openxmlformats.org/officeDocument/2006/relationships/image" Target="../media/image274.png"/><Relationship Id="rId5" Type="http://schemas.openxmlformats.org/officeDocument/2006/relationships/oleObject" Target="../embeddings/oleObject209.bin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27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82.vml"/><Relationship Id="rId5" Type="http://schemas.openxmlformats.org/officeDocument/2006/relationships/oleObject" Target="../embeddings/oleObject182.bin"/><Relationship Id="rId4" Type="http://schemas.openxmlformats.org/officeDocument/2006/relationships/notesSlide" Target="../notesSlides/notesSlide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6.png"/><Relationship Id="rId2" Type="http://schemas.openxmlformats.org/officeDocument/2006/relationships/image" Target="../media/image275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2" Type="http://schemas.openxmlformats.org/officeDocument/2006/relationships/tags" Target="../tags/tag232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33.png"/><Relationship Id="rId11" Type="http://schemas.openxmlformats.org/officeDocument/2006/relationships/image" Target="../media/image280.png"/><Relationship Id="rId5" Type="http://schemas.openxmlformats.org/officeDocument/2006/relationships/oleObject" Target="../embeddings/oleObject210.bin"/><Relationship Id="rId10" Type="http://schemas.openxmlformats.org/officeDocument/2006/relationships/image" Target="../media/image279.pn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27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8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2.png"/><Relationship Id="rId4" Type="http://schemas.openxmlformats.org/officeDocument/2006/relationships/image" Target="../media/image34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2" Type="http://schemas.openxmlformats.org/officeDocument/2006/relationships/tags" Target="../tags/tag233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33.png"/><Relationship Id="rId11" Type="http://schemas.openxmlformats.org/officeDocument/2006/relationships/image" Target="../media/image286.png"/><Relationship Id="rId5" Type="http://schemas.openxmlformats.org/officeDocument/2006/relationships/oleObject" Target="../embeddings/oleObject211.bin"/><Relationship Id="rId10" Type="http://schemas.openxmlformats.org/officeDocument/2006/relationships/image" Target="../media/image285.png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284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7.png"/><Relationship Id="rId13" Type="http://schemas.openxmlformats.org/officeDocument/2006/relationships/image" Target="../media/image29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12" Type="http://schemas.openxmlformats.org/officeDocument/2006/relationships/image" Target="../media/image291.png"/><Relationship Id="rId2" Type="http://schemas.openxmlformats.org/officeDocument/2006/relationships/tags" Target="../tags/tag234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33.png"/><Relationship Id="rId11" Type="http://schemas.openxmlformats.org/officeDocument/2006/relationships/image" Target="../media/image290.png"/><Relationship Id="rId5" Type="http://schemas.openxmlformats.org/officeDocument/2006/relationships/oleObject" Target="../embeddings/oleObject212.bin"/><Relationship Id="rId10" Type="http://schemas.openxmlformats.org/officeDocument/2006/relationships/image" Target="../media/image289.png"/><Relationship Id="rId4" Type="http://schemas.openxmlformats.org/officeDocument/2006/relationships/notesSlide" Target="../notesSlides/notesSlide33.xml"/><Relationship Id="rId9" Type="http://schemas.openxmlformats.org/officeDocument/2006/relationships/image" Target="../media/image288.emf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3.emf"/><Relationship Id="rId1" Type="http://schemas.openxmlformats.org/officeDocument/2006/relationships/slideLayout" Target="../slideLayouts/slideLayout39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5.png"/><Relationship Id="rId7" Type="http://schemas.openxmlformats.org/officeDocument/2006/relationships/hyperlink" Target="http://lecta.rosuchebnin.ru/" TargetMode="External"/><Relationship Id="rId2" Type="http://schemas.openxmlformats.org/officeDocument/2006/relationships/image" Target="../media/image294.png"/><Relationship Id="rId1" Type="http://schemas.openxmlformats.org/officeDocument/2006/relationships/slideLayout" Target="../slideLayouts/slideLayout382.xml"/><Relationship Id="rId6" Type="http://schemas.openxmlformats.org/officeDocument/2006/relationships/hyperlink" Target="https://lecta.ru/" TargetMode="External"/><Relationship Id="rId5" Type="http://schemas.openxmlformats.org/officeDocument/2006/relationships/image" Target="../media/image297.png"/><Relationship Id="rId4" Type="http://schemas.openxmlformats.org/officeDocument/2006/relationships/image" Target="../media/image296.jpe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4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4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183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3.emf"/><Relationship Id="rId2" Type="http://schemas.openxmlformats.org/officeDocument/2006/relationships/tags" Target="../tags/tag206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47.png"/><Relationship Id="rId5" Type="http://schemas.openxmlformats.org/officeDocument/2006/relationships/oleObject" Target="../embeddings/oleObject184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5.xml"/><Relationship Id="rId7" Type="http://schemas.openxmlformats.org/officeDocument/2006/relationships/hyperlink" Target="consultantplus://offline/ref=7424E31B6B8D8C3D1885DB16ABD741EC47AC1315D752174188F7DAE0E3045560D1763AAC5CDB1A294C7D598C8FUBJDO" TargetMode="External"/><Relationship Id="rId2" Type="http://schemas.openxmlformats.org/officeDocument/2006/relationships/tags" Target="../tags/tag207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44.emf"/><Relationship Id="rId5" Type="http://schemas.openxmlformats.org/officeDocument/2006/relationships/oleObject" Target="../embeddings/oleObject185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consultantplus://offline/ref=023F1AA214D26817B12CB4FA9E7841BF133BFB7F434963860BC92254B20E14627274D6A79B1FFC6EF5559FE3DC9D5B385BBF45BA274E40BBtFUCO" TargetMode="External"/><Relationship Id="rId3" Type="http://schemas.openxmlformats.org/officeDocument/2006/relationships/slideLayout" Target="../slideLayouts/slideLayout378.xml"/><Relationship Id="rId7" Type="http://schemas.openxmlformats.org/officeDocument/2006/relationships/hyperlink" Target="consultantplus://offline/ref=023F1AA214D26817B12CAAF49A7841BF103EF87C404B63860BC92254B20E146260748EAB9A1BE26FF240C9B299tCU1O" TargetMode="External"/><Relationship Id="rId2" Type="http://schemas.openxmlformats.org/officeDocument/2006/relationships/tags" Target="../tags/tag208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44.emf"/><Relationship Id="rId5" Type="http://schemas.openxmlformats.org/officeDocument/2006/relationships/oleObject" Target="../embeddings/oleObject186.bin"/><Relationship Id="rId4" Type="http://schemas.openxmlformats.org/officeDocument/2006/relationships/notesSlide" Target="../notesSlides/notesSlide8.xml"/><Relationship Id="rId9" Type="http://schemas.openxmlformats.org/officeDocument/2006/relationships/hyperlink" Target="consultantplus://offline/ref=023F1AA214D26817B12CB4FA9E7841BF1033FC79494C63860BC92254B20E14627274D6A79B1FFC6EF3559FE3DC9D5B385BBF45BA274E40BBtFUCO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6549450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56455" name="think-cell Slide" r:id="rId4" imgW="360" imgH="360" progId="">
              <p:embed/>
            </p:oleObj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122708" y="452131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8" name="Заголовок 4"/>
          <p:cNvSpPr>
            <a:spLocks noGrp="1"/>
          </p:cNvSpPr>
          <p:nvPr>
            <p:ph type="ctrTitle"/>
          </p:nvPr>
        </p:nvSpPr>
        <p:spPr>
          <a:xfrm>
            <a:off x="4267087" y="703393"/>
            <a:ext cx="7576572" cy="1510693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/>
            <a:r>
              <a:rPr lang="ru-RU" sz="3200" dirty="0" smtClean="0">
                <a:latin typeface="+mn-lt"/>
              </a:rPr>
              <a:t>«Содержание и методический аппарат УМК по биологии для достижения </a:t>
            </a:r>
            <a:r>
              <a:rPr lang="ru-RU" sz="3200" dirty="0" smtClean="0">
                <a:latin typeface="+mn-lt"/>
              </a:rPr>
              <a:t>новых образовательных </a:t>
            </a:r>
            <a:r>
              <a:rPr lang="ru-RU" sz="3200" dirty="0" smtClean="0">
                <a:latin typeface="+mn-lt"/>
              </a:rPr>
              <a:t>результатов» </a:t>
            </a:r>
            <a:br>
              <a:rPr lang="ru-RU" sz="3200" dirty="0" smtClean="0">
                <a:latin typeface="+mn-lt"/>
              </a:rPr>
            </a:br>
            <a:endParaRPr lang="ru-RU" sz="3200" dirty="0">
              <a:latin typeface="+mn-lt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8" y="6612027"/>
            <a:ext cx="12191999" cy="246075"/>
            <a:chOff x="0" y="6617108"/>
            <a:chExt cx="9144000" cy="287867"/>
          </a:xfrm>
          <a:solidFill>
            <a:srgbClr val="2D3494"/>
          </a:solidFill>
        </p:grpSpPr>
        <p:sp>
          <p:nvSpPr>
            <p:cNvPr id="26" name="Rectangle 28"/>
            <p:cNvSpPr>
              <a:spLocks noChangeArrowheads="1"/>
            </p:cNvSpPr>
            <p:nvPr/>
          </p:nvSpPr>
          <p:spPr bwMode="auto">
            <a:xfrm>
              <a:off x="0" y="6617108"/>
              <a:ext cx="9144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57114" y="6680262"/>
              <a:ext cx="3600000" cy="164148"/>
            </a:xfrm>
            <a:prstGeom prst="rect">
              <a:avLst/>
            </a:prstGeom>
            <a:grp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n-US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 </a:t>
              </a:r>
              <a:r>
                <a:rPr lang="ru-RU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порация «Российский учебник»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489959" y="641550"/>
            <a:ext cx="3129553" cy="1221232"/>
            <a:chOff x="6514125" y="1582513"/>
            <a:chExt cx="2398321" cy="978759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514125" y="1582513"/>
              <a:ext cx="2390186" cy="581179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4" name="Прямоугольник 3"/>
          <p:cNvSpPr/>
          <p:nvPr/>
        </p:nvSpPr>
        <p:spPr>
          <a:xfrm>
            <a:off x="4089533" y="452131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9" name="Picture 25" descr="ÐÐ¸Ð¾Ð»Ð¾Ð³Ð¸Ñ. 9Â ÐºÐ»Ð°ÑÑ. Ð£ÑÐµÐ±Ð½Ð¸Ðº.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9532" y="4277995"/>
            <a:ext cx="1246728" cy="16509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3" descr="ÐÐ¸Ð¾Ð»Ð¾Ð³Ð¸Ñ. 8Â ÐºÐ»Ð°ÑÑ. Ð£ÑÐµÐ±Ð½Ð¸Ðº.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999" y="3139684"/>
            <a:ext cx="1246728" cy="16509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1" descr="ÐÐ¸Ð¾Ð»Ð¾Ð³Ð¸Ñ. 7Â ÐºÐ»Ð°ÑÑ. Ð£ÑÐµÐ±Ð½Ð¸Ðº.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027" y="4277995"/>
            <a:ext cx="1246728" cy="16509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9" descr="ÐÐ¸Ð¾Ð»Ð¾Ð³Ð¸Ñ. 6Â ÐºÐ». Ð£ÑÐµÐ±Ð½Ð¸Ðº.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2489" y="3125265"/>
            <a:ext cx="1246728" cy="16509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7" descr="ÐÐ¸Ð¾Ð»Ð¾Ð³Ð¸Ñ. 5Â ÐºÐ»Ð°ÑÑ. Ð£ÑÐµÐ±Ð½Ð¸Ðº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417" y="4277995"/>
            <a:ext cx="1246728" cy="16509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2" descr="ÐÐ¸Ð¾Ð»Ð¾Ð³Ð¸Ñ. 9 ÐºÐ»Ð°ÑÑ. Ð£ÑÐµÐ±Ð½Ð¸Ðº.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1375" y="3125264"/>
            <a:ext cx="1307305" cy="16994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4" descr="https://articlerus.ru/wp-content/uploads/pic/ea7e9ee0000014df8002000001ff100a0191001ed9df0020004153d4d0d3c9189a1b53468f286309899301300036b8e6f211920dd2e57c7fc519e013481/b2940699dec756296c9370b39151c2d53817e2ee48a70a121d4fd3dc0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1884" y="4147839"/>
            <a:ext cx="1304257" cy="169553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0" descr="ÐÐ¸Ð¾Ð»Ð¾Ð³Ð¸Ñ. 7 ÐºÐ»Ð°ÑÑ. Ð£ÑÐµÐ±Ð½Ð¸Ðº.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47" y="3115424"/>
            <a:ext cx="1307305" cy="16994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10711901" y="3081331"/>
            <a:ext cx="1272995" cy="170933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Рисунок 41"/>
          <p:cNvPicPr>
            <a:picLocks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10460695" y="4259003"/>
            <a:ext cx="1216636" cy="166349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3" name="Picture 8" descr="ÐÐ¸Ð¾Ð»Ð¾Ð³Ð¸Ñ. 5-6Â ÐºÐ»Ð°ÑÑ. Ð£ÑÐµÐ±Ð½Ð¸Ðº.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159" y="4159581"/>
            <a:ext cx="1304313" cy="169560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9139540" y="3137188"/>
            <a:ext cx="1248433" cy="1653472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674981" y="4170601"/>
            <a:ext cx="1248433" cy="1684584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62198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81"/>
          <p:cNvSpPr txBox="1">
            <a:spLocks noGrp="1"/>
          </p:cNvSpPr>
          <p:nvPr>
            <p:ph type="ctrTitle" idx="4294967295"/>
          </p:nvPr>
        </p:nvSpPr>
        <p:spPr>
          <a:xfrm>
            <a:off x="270933" y="1557435"/>
            <a:ext cx="11437851" cy="3906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241294" lvl="0" indent="-241294" algn="ctr" defTabSz="1219170">
              <a:spcBef>
                <a:spcPct val="20000"/>
              </a:spcBef>
            </a:pPr>
            <a:r>
              <a:rPr lang="ru-RU" sz="3600" b="1" kern="1200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чебники рекомендуемые  к использованию при реализации </a:t>
            </a:r>
            <a:r>
              <a:rPr lang="ru-RU" sz="3600" b="1" kern="1200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бразовательной части </a:t>
            </a:r>
            <a:r>
              <a:rPr lang="ru-RU" sz="3600" b="1" kern="1200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сновной образовательной </a:t>
            </a:r>
            <a:r>
              <a:rPr lang="ru-RU" sz="3600" b="1" kern="1200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ограммы</a:t>
            </a:r>
            <a:endParaRPr sz="3600" dirty="0">
              <a:solidFill>
                <a:srgbClr val="FFFF00"/>
              </a:solidFill>
              <a:latin typeface="Roboto Slab Light"/>
              <a:ea typeface="Roboto Slab Light"/>
              <a:cs typeface="Roboto Slab Light"/>
              <a:sym typeface="Roboto Slab Light"/>
            </a:endParaRPr>
          </a:p>
        </p:txBody>
      </p:sp>
      <p:sp>
        <p:nvSpPr>
          <p:cNvPr id="710" name="Google Shape;710;p81"/>
          <p:cNvSpPr txBox="1"/>
          <p:nvPr/>
        </p:nvSpPr>
        <p:spPr>
          <a:xfrm>
            <a:off x="914403" y="3819835"/>
            <a:ext cx="10794380" cy="1644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600"/>
              <a:defRPr/>
            </a:pPr>
            <a:r>
              <a:rPr lang="ru-RU" sz="28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МИНПРОСВЕЩЕНИЯ России от 28.12.2018 № 345 </a:t>
            </a:r>
            <a:endParaRPr sz="2800" kern="0" dirty="0">
              <a:solidFill>
                <a:srgbClr val="FFFFFF"/>
              </a:solidFill>
              <a:latin typeface="Blackadder ITC" panose="04020505051007020D02" pitchFamily="82" charset="0"/>
              <a:ea typeface="Roboto"/>
              <a:cs typeface="Roboto"/>
              <a:sym typeface="Roboto"/>
            </a:endParaRPr>
          </a:p>
        </p:txBody>
      </p:sp>
      <p:sp>
        <p:nvSpPr>
          <p:cNvPr id="711" name="Google Shape;711;p81"/>
          <p:cNvSpPr txBox="1">
            <a:spLocks noGrp="1"/>
          </p:cNvSpPr>
          <p:nvPr>
            <p:ph type="ctrTitle" idx="4294967295"/>
          </p:nvPr>
        </p:nvSpPr>
        <p:spPr>
          <a:xfrm>
            <a:off x="321733" y="1465400"/>
            <a:ext cx="795867" cy="18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6400" dirty="0" smtClean="0">
                <a:solidFill>
                  <a:srgbClr val="ED1064"/>
                </a:solidFill>
                <a:latin typeface="Roboto Slab Light"/>
                <a:ea typeface="Roboto Slab Light"/>
                <a:cs typeface="Roboto Slab Light"/>
                <a:sym typeface="Roboto Slab Light"/>
              </a:rPr>
              <a:t>1</a:t>
            </a:r>
            <a:endParaRPr sz="6400" dirty="0">
              <a:solidFill>
                <a:srgbClr val="ED1064"/>
              </a:solidFill>
              <a:latin typeface="Roboto Slab Light"/>
              <a:ea typeface="Roboto Slab Light"/>
              <a:cs typeface="Roboto Slab Light"/>
              <a:sym typeface="Roboto Slab Ligh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84330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525600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27374" name="think-cell Slide" r:id="rId5" imgW="360" imgH="36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0256575" y="4187650"/>
            <a:ext cx="749663" cy="99288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378065" y="1848980"/>
            <a:ext cx="745635" cy="101320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ТЕКУЩИЙ ПОРТФЕЛЬ КОРПОРАЦИИ «РОССИЙСКИЙ УЧЕБНИК» </a:t>
            </a:r>
            <a:br>
              <a:rPr lang="ru-RU" sz="2400" dirty="0" smtClean="0">
                <a:latin typeface="+mj-lt"/>
              </a:rPr>
            </a:br>
            <a:r>
              <a:rPr lang="ru-RU" sz="2400" dirty="0" smtClean="0">
                <a:solidFill>
                  <a:srgbClr val="EB2049"/>
                </a:solidFill>
                <a:latin typeface="+mj-lt"/>
              </a:rPr>
              <a:t>ПО БИОЛОГИИ, ДОСТУПНЫЙ ДЛЯ ЗАКУПКИ</a:t>
            </a:r>
            <a:endParaRPr lang="ru-RU" sz="2400" dirty="0">
              <a:solidFill>
                <a:srgbClr val="EB2049"/>
              </a:solidFill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00432" y="6446354"/>
            <a:ext cx="842421" cy="216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4464595" y="6438938"/>
            <a:ext cx="1142383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900" dirty="0" smtClean="0">
                <a:solidFill>
                  <a:srgbClr val="181818">
                    <a:lumMod val="75000"/>
                    <a:lumOff val="25000"/>
                  </a:srgbClr>
                </a:solidFill>
              </a:rPr>
              <a:t>Учебники ФП 2018</a:t>
            </a:r>
            <a:endParaRPr lang="ru-RU" sz="900" dirty="0">
              <a:solidFill>
                <a:srgbClr val="181818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1103829" y="6438938"/>
            <a:ext cx="2496603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900" dirty="0">
                <a:solidFill>
                  <a:srgbClr val="181818">
                    <a:lumMod val="75000"/>
                    <a:lumOff val="25000"/>
                  </a:srgbClr>
                </a:solidFill>
              </a:rPr>
              <a:t>Учебные </a:t>
            </a:r>
            <a:r>
              <a:rPr lang="ru-RU" sz="900" dirty="0" smtClean="0">
                <a:solidFill>
                  <a:srgbClr val="181818">
                    <a:lumMod val="75000"/>
                    <a:lumOff val="25000"/>
                  </a:srgbClr>
                </a:solidFill>
              </a:rPr>
              <a:t>пособия</a:t>
            </a:r>
            <a:endParaRPr lang="ru-RU" sz="900" dirty="0">
              <a:solidFill>
                <a:srgbClr val="181818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239733" y="6446354"/>
            <a:ext cx="842421" cy="2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>
              <a:solidFill>
                <a:srgbClr val="181818"/>
              </a:solidFill>
            </a:endParaRPr>
          </a:p>
        </p:txBody>
      </p:sp>
      <p:pic>
        <p:nvPicPr>
          <p:cNvPr id="75" name="Рисунок 74"/>
          <p:cNvPicPr>
            <a:picLocks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549583" y="1848980"/>
            <a:ext cx="720000" cy="9936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6" name="Рисунок 75"/>
          <p:cNvPicPr>
            <a:picLocks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704323" y="4099992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7" name="Рисунок 76"/>
          <p:cNvPicPr>
            <a:picLocks/>
          </p:cNvPicPr>
          <p:nvPr/>
        </p:nvPicPr>
        <p:blipFill rotWithShape="1">
          <a:blip r:embed="rId10" cstate="print"/>
          <a:srcRect l="2357" t="718"/>
          <a:stretch/>
        </p:blipFill>
        <p:spPr>
          <a:xfrm>
            <a:off x="7101244" y="4099992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8" name="Рисунок 77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941353" y="184898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9" name="Text Placeholder 3"/>
          <p:cNvSpPr txBox="1">
            <a:spLocks/>
          </p:cNvSpPr>
          <p:nvPr/>
        </p:nvSpPr>
        <p:spPr>
          <a:xfrm>
            <a:off x="1452233" y="1073449"/>
            <a:ext cx="1764000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181818">
                    <a:lumMod val="90000"/>
                    <a:lumOff val="10000"/>
                  </a:srgbClr>
                </a:solidFill>
                <a:latin typeface="Calibri"/>
              </a:rPr>
              <a:t>Линия УМК Пасечника В.В.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297481" y="2557538"/>
            <a:ext cx="15677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ОСНОВНАЯ </a:t>
            </a:r>
          </a:p>
          <a:p>
            <a:r>
              <a:rPr lang="ru-RU" sz="1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ШКОЛА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297481" y="4737968"/>
            <a:ext cx="15677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СТАРШАЯ </a:t>
            </a:r>
          </a:p>
          <a:p>
            <a:r>
              <a:rPr lang="ru-RU" sz="1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ШКОЛА</a:t>
            </a:r>
          </a:p>
        </p:txBody>
      </p:sp>
      <p:sp>
        <p:nvSpPr>
          <p:cNvPr id="82" name="Text Placeholder 3"/>
          <p:cNvSpPr txBox="1">
            <a:spLocks/>
          </p:cNvSpPr>
          <p:nvPr/>
        </p:nvSpPr>
        <p:spPr>
          <a:xfrm>
            <a:off x="3098780" y="1090982"/>
            <a:ext cx="2441333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Линия УМК Пономаревой И.Н. и др.</a:t>
            </a:r>
            <a:endParaRPr lang="ru-RU" sz="1400" dirty="0" smtClean="0">
              <a:solidFill>
                <a:srgbClr val="181818">
                  <a:lumMod val="90000"/>
                  <a:lumOff val="10000"/>
                </a:srgbClr>
              </a:solidFill>
              <a:latin typeface="Calibri"/>
            </a:endParaRPr>
          </a:p>
        </p:txBody>
      </p:sp>
      <p:sp>
        <p:nvSpPr>
          <p:cNvPr id="83" name="Text Placeholder 3"/>
          <p:cNvSpPr txBox="1">
            <a:spLocks/>
          </p:cNvSpPr>
          <p:nvPr/>
        </p:nvSpPr>
        <p:spPr>
          <a:xfrm>
            <a:off x="5722079" y="1088470"/>
            <a:ext cx="2187468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Линия УМК Сонина Н.И. и др.</a:t>
            </a:r>
            <a:endParaRPr lang="ru-RU" sz="1400" dirty="0" smtClean="0">
              <a:solidFill>
                <a:srgbClr val="181818">
                  <a:lumMod val="90000"/>
                  <a:lumOff val="10000"/>
                </a:srgbClr>
              </a:solidFill>
              <a:latin typeface="Calibri"/>
            </a:endParaRPr>
          </a:p>
        </p:txBody>
      </p:sp>
      <p:sp>
        <p:nvSpPr>
          <p:cNvPr id="86" name="Text Placeholder 3"/>
          <p:cNvSpPr txBox="1">
            <a:spLocks/>
          </p:cNvSpPr>
          <p:nvPr/>
        </p:nvSpPr>
        <p:spPr>
          <a:xfrm>
            <a:off x="8080535" y="1082880"/>
            <a:ext cx="1764000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Линия УМК Суховой Т.С. </a:t>
            </a:r>
            <a:r>
              <a:rPr lang="ru-RU" sz="1400" dirty="0">
                <a:solidFill>
                  <a:srgbClr val="181818"/>
                </a:solidFill>
                <a:latin typeface="Calibri"/>
              </a:rPr>
              <a:t>и</a:t>
            </a: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 др.</a:t>
            </a:r>
            <a:endParaRPr lang="ru-RU" sz="1400" dirty="0" smtClean="0">
              <a:solidFill>
                <a:srgbClr val="181818">
                  <a:lumMod val="90000"/>
                  <a:lumOff val="10000"/>
                </a:srgbClr>
              </a:solidFill>
              <a:latin typeface="Calibri"/>
            </a:endParaRPr>
          </a:p>
        </p:txBody>
      </p:sp>
      <p:sp>
        <p:nvSpPr>
          <p:cNvPr id="89" name="Text Placeholder 3"/>
          <p:cNvSpPr txBox="1">
            <a:spLocks/>
          </p:cNvSpPr>
          <p:nvPr/>
        </p:nvSpPr>
        <p:spPr>
          <a:xfrm>
            <a:off x="9904703" y="1062875"/>
            <a:ext cx="1764000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00"/>
              </a:lnSpc>
            </a:pP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Линия УМК </a:t>
            </a:r>
            <a:r>
              <a:rPr lang="ru-RU" sz="1400" dirty="0" err="1" smtClean="0">
                <a:solidFill>
                  <a:srgbClr val="181818"/>
                </a:solidFill>
                <a:latin typeface="Calibri"/>
              </a:rPr>
              <a:t>Сивоглазова</a:t>
            </a:r>
            <a:r>
              <a:rPr lang="ru-RU" sz="1400" dirty="0" smtClean="0">
                <a:solidFill>
                  <a:srgbClr val="181818"/>
                </a:solidFill>
                <a:latin typeface="Calibri"/>
              </a:rPr>
              <a:t> В.И.</a:t>
            </a:r>
            <a:endParaRPr lang="ru-RU" sz="1400" dirty="0" smtClean="0">
              <a:solidFill>
                <a:srgbClr val="181818">
                  <a:lumMod val="90000"/>
                  <a:lumOff val="10000"/>
                </a:srgbClr>
              </a:solidFill>
              <a:latin typeface="Calibri"/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 flipH="1">
            <a:off x="141833" y="3909638"/>
            <a:ext cx="11232000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1" name="Прямая соединительная линия 90"/>
          <p:cNvCxnSpPr/>
          <p:nvPr/>
        </p:nvCxnSpPr>
        <p:spPr>
          <a:xfrm flipV="1">
            <a:off x="3075321" y="1104187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2" name="Прямая соединительная линия 91"/>
          <p:cNvCxnSpPr/>
          <p:nvPr/>
        </p:nvCxnSpPr>
        <p:spPr>
          <a:xfrm flipH="1">
            <a:off x="141833" y="1670498"/>
            <a:ext cx="11232000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3" name="Прямая соединительная линия 92"/>
          <p:cNvCxnSpPr/>
          <p:nvPr/>
        </p:nvCxnSpPr>
        <p:spPr>
          <a:xfrm flipV="1">
            <a:off x="1410043" y="1104187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4" name="Прямая соединительная линия 93"/>
          <p:cNvCxnSpPr/>
          <p:nvPr/>
        </p:nvCxnSpPr>
        <p:spPr>
          <a:xfrm flipV="1">
            <a:off x="5566383" y="1104187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5" name="Прямая соединительная линия 94"/>
          <p:cNvCxnSpPr/>
          <p:nvPr/>
        </p:nvCxnSpPr>
        <p:spPr>
          <a:xfrm flipV="1">
            <a:off x="8078876" y="1104187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6" name="Прямая соединительная линия 95"/>
          <p:cNvCxnSpPr/>
          <p:nvPr/>
        </p:nvCxnSpPr>
        <p:spPr>
          <a:xfrm flipH="1" flipV="1">
            <a:off x="9840927" y="1104185"/>
            <a:ext cx="0" cy="5013811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pic>
        <p:nvPicPr>
          <p:cNvPr id="97" name="Рисунок 96"/>
          <p:cNvPicPr>
            <a:picLocks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2001975" y="184898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8" name="Рисунок 97"/>
          <p:cNvPicPr>
            <a:picLocks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1727687" y="222439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9" name="Рисунок 98"/>
          <p:cNvPicPr>
            <a:picLocks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1882683" y="441103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0" name="Рисунок 99"/>
          <p:cNvPicPr>
            <a:picLocks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3466161" y="184898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1" name="Рисунок 100"/>
          <p:cNvPicPr>
            <a:picLocks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3326884" y="222439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" name="Рисунок 101"/>
          <p:cNvPicPr>
            <a:picLocks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5820180" y="222439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3" name="Рисунок 102"/>
          <p:cNvPicPr>
            <a:picLocks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7063425" y="184898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4" name="Рисунок 103"/>
          <p:cNvPicPr>
            <a:picLocks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635775" y="184898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5" name="Рисунок 104"/>
          <p:cNvPicPr>
            <a:picLocks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8439023" y="222439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6" name="Рисунок 105"/>
          <p:cNvPicPr>
            <a:picLocks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4524753" y="4099992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7" name="Рисунок 106"/>
          <p:cNvPicPr>
            <a:picLocks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3519447" y="4099992"/>
            <a:ext cx="720000" cy="9936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8" name="Рисунок 107"/>
          <p:cNvPicPr>
            <a:picLocks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3346375" y="439977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9" name="Рисунок 108"/>
          <p:cNvPicPr>
            <a:picLocks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4451972" y="439977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0" name="Рисунок 109"/>
          <p:cNvPicPr>
            <a:picLocks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5971131" y="4099992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1" name="Рисунок 110"/>
          <p:cNvPicPr>
            <a:picLocks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5785061" y="439977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2" name="Рисунок 111"/>
          <p:cNvPicPr>
            <a:picLocks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6967257" y="439977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3" name="Рисунок 112"/>
          <p:cNvPicPr>
            <a:picLocks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8423311" y="439977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4" name="Рисунок 113"/>
          <p:cNvPicPr>
            <a:picLocks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6973651" y="2224390"/>
            <a:ext cx="72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5" name="Прямоугольник 114"/>
          <p:cNvSpPr/>
          <p:nvPr/>
        </p:nvSpPr>
        <p:spPr>
          <a:xfrm>
            <a:off x="1448955" y="3668990"/>
            <a:ext cx="1584176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 smtClean="0">
                <a:solidFill>
                  <a:srgbClr val="181818"/>
                </a:solidFill>
              </a:rPr>
              <a:t>Учебное пособие</a:t>
            </a:r>
          </a:p>
        </p:txBody>
      </p:sp>
      <p:sp>
        <p:nvSpPr>
          <p:cNvPr id="116" name="Скругленный прямоугольник 115"/>
          <p:cNvSpPr/>
          <p:nvPr/>
        </p:nvSpPr>
        <p:spPr>
          <a:xfrm>
            <a:off x="3232361" y="3419631"/>
            <a:ext cx="1080000" cy="41855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rgbClr val="FFFFFF"/>
                </a:solidFill>
              </a:rPr>
              <a:t>ФП </a:t>
            </a:r>
            <a:r>
              <a:rPr lang="ru-RU" sz="1200" b="1" dirty="0">
                <a:solidFill>
                  <a:srgbClr val="FFFFFF"/>
                </a:solidFill>
              </a:rPr>
              <a:t>1.2.5.2.6.1 – 1.2.5.2.6.4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5753817" y="3668990"/>
            <a:ext cx="2162715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8132044" y="3668990"/>
            <a:ext cx="1584176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1452233" y="5823532"/>
            <a:ext cx="1584176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sp>
        <p:nvSpPr>
          <p:cNvPr id="120" name="Прямоугольник 119"/>
          <p:cNvSpPr/>
          <p:nvPr/>
        </p:nvSpPr>
        <p:spPr>
          <a:xfrm>
            <a:off x="3212973" y="5823532"/>
            <a:ext cx="2104967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sp>
        <p:nvSpPr>
          <p:cNvPr id="121" name="Прямоугольник 120"/>
          <p:cNvSpPr/>
          <p:nvPr/>
        </p:nvSpPr>
        <p:spPr>
          <a:xfrm>
            <a:off x="8132044" y="5823532"/>
            <a:ext cx="1584176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pic>
        <p:nvPicPr>
          <p:cNvPr id="126" name="Рисунок 125"/>
          <p:cNvPicPr>
            <a:picLocks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4475600" y="2224390"/>
            <a:ext cx="720000" cy="9936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7" name="Скругленный прямоугольник 126"/>
          <p:cNvSpPr/>
          <p:nvPr/>
        </p:nvSpPr>
        <p:spPr>
          <a:xfrm>
            <a:off x="4341337" y="3419631"/>
            <a:ext cx="1080000" cy="41855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ФП 1.2.5.2.3.1 – </a:t>
            </a:r>
            <a:r>
              <a:rPr lang="ru-RU" sz="1200" b="1" dirty="0" smtClean="0">
                <a:solidFill>
                  <a:srgbClr val="FFFFFF"/>
                </a:solidFill>
              </a:rPr>
              <a:t>1.2.5.2.3.5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128" name="Скругленный прямоугольник 127"/>
          <p:cNvSpPr/>
          <p:nvPr/>
        </p:nvSpPr>
        <p:spPr>
          <a:xfrm>
            <a:off x="5682119" y="5574275"/>
            <a:ext cx="1080000" cy="41855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ФП 1.3.5.6.6.1 – 1.3.5.6.6.2</a:t>
            </a:r>
          </a:p>
        </p:txBody>
      </p:sp>
      <p:sp>
        <p:nvSpPr>
          <p:cNvPr id="129" name="Скругленный прямоугольник 128"/>
          <p:cNvSpPr/>
          <p:nvPr/>
        </p:nvSpPr>
        <p:spPr>
          <a:xfrm>
            <a:off x="10081763" y="3419631"/>
            <a:ext cx="1080000" cy="41855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rgbClr val="FFFFFF"/>
                </a:solidFill>
              </a:rPr>
              <a:t>ФП </a:t>
            </a:r>
            <a:r>
              <a:rPr lang="ru-RU" sz="1200" b="1" dirty="0">
                <a:solidFill>
                  <a:srgbClr val="FFFFFF"/>
                </a:solidFill>
              </a:rPr>
              <a:t>1.2.5.2.5.1 – 1.2.5.2.5.5</a:t>
            </a:r>
          </a:p>
        </p:txBody>
      </p:sp>
      <p:sp>
        <p:nvSpPr>
          <p:cNvPr id="130" name="Скругленный прямоугольник 129"/>
          <p:cNvSpPr/>
          <p:nvPr/>
        </p:nvSpPr>
        <p:spPr>
          <a:xfrm>
            <a:off x="10081763" y="5574275"/>
            <a:ext cx="1080000" cy="41855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ФП 1.3.5.6.1.1 – </a:t>
            </a:r>
            <a:r>
              <a:rPr lang="ru-RU" sz="1200" b="1" dirty="0" smtClean="0">
                <a:solidFill>
                  <a:srgbClr val="FFFFFF"/>
                </a:solidFill>
              </a:rPr>
              <a:t>1.3.5.6.1.2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6808703" y="5823532"/>
            <a:ext cx="1211456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rgbClr val="181818"/>
                </a:solidFill>
              </a:rPr>
              <a:t>Учебное пособие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10155028" y="2221764"/>
            <a:ext cx="742453" cy="100183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0147885" y="4399871"/>
            <a:ext cx="749663" cy="99288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4289488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6328644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28398" name="think-cell Slide" r:id="rId4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4053061" y="4764265"/>
            <a:ext cx="8138939" cy="12594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4053063" y="1063456"/>
            <a:ext cx="8138937" cy="3585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1654571" y="1722868"/>
            <a:ext cx="1548000" cy="4583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>
                <a:solidFill>
                  <a:srgbClr val="181818"/>
                </a:solidFill>
              </a:rPr>
              <a:t>Линия УМК Пасечника (5-11 </a:t>
            </a:r>
            <a:r>
              <a:rPr lang="ru-RU" sz="1200" dirty="0" err="1">
                <a:solidFill>
                  <a:srgbClr val="181818"/>
                </a:solidFill>
              </a:rPr>
              <a:t>кл</a:t>
            </a:r>
            <a:r>
              <a:rPr lang="ru-RU" sz="1200" dirty="0">
                <a:solidFill>
                  <a:srgbClr val="181818"/>
                </a:solidFill>
              </a:rPr>
              <a:t>)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1654571" y="5196551"/>
            <a:ext cx="1548000" cy="4340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>
                <a:solidFill>
                  <a:srgbClr val="181818"/>
                </a:solidFill>
              </a:rPr>
              <a:t>Линия УМК Сонина (</a:t>
            </a:r>
            <a:r>
              <a:rPr lang="ru-RU" sz="1200" dirty="0" err="1">
                <a:solidFill>
                  <a:srgbClr val="181818"/>
                </a:solidFill>
              </a:rPr>
              <a:t>конц</a:t>
            </a:r>
            <a:r>
              <a:rPr lang="ru-RU" sz="1200" dirty="0">
                <a:solidFill>
                  <a:srgbClr val="181818"/>
                </a:solidFill>
              </a:rPr>
              <a:t>.) (5-9 </a:t>
            </a:r>
            <a:r>
              <a:rPr lang="ru-RU" sz="1200" dirty="0" err="1">
                <a:solidFill>
                  <a:srgbClr val="181818"/>
                </a:solidFill>
              </a:rPr>
              <a:t>кл</a:t>
            </a:r>
            <a:r>
              <a:rPr lang="ru-RU" sz="1200" dirty="0">
                <a:solidFill>
                  <a:srgbClr val="181818"/>
                </a:solidFill>
              </a:rPr>
              <a:t>) 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1654571" y="3875606"/>
            <a:ext cx="1548000" cy="45975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>
                <a:solidFill>
                  <a:srgbClr val="181818"/>
                </a:solidFill>
              </a:rPr>
              <a:t>Линия УМК Сонина </a:t>
            </a:r>
          </a:p>
          <a:p>
            <a:r>
              <a:rPr lang="ru-RU" sz="1200" dirty="0">
                <a:solidFill>
                  <a:srgbClr val="181818"/>
                </a:solidFill>
              </a:rPr>
              <a:t>(</a:t>
            </a:r>
            <a:r>
              <a:rPr lang="ru-RU" sz="1200" dirty="0" err="1">
                <a:solidFill>
                  <a:srgbClr val="181818"/>
                </a:solidFill>
              </a:rPr>
              <a:t>лин</a:t>
            </a:r>
            <a:r>
              <a:rPr lang="ru-RU" sz="1200" dirty="0">
                <a:solidFill>
                  <a:srgbClr val="181818"/>
                </a:solidFill>
              </a:rPr>
              <a:t>.) (5-9 </a:t>
            </a:r>
            <a:r>
              <a:rPr lang="ru-RU" sz="1200" dirty="0" err="1">
                <a:solidFill>
                  <a:srgbClr val="181818"/>
                </a:solidFill>
              </a:rPr>
              <a:t>кл</a:t>
            </a:r>
            <a:r>
              <a:rPr lang="ru-RU" sz="1200" dirty="0">
                <a:solidFill>
                  <a:srgbClr val="181818"/>
                </a:solidFill>
              </a:rPr>
              <a:t>)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642300" y="2685053"/>
            <a:ext cx="1548000" cy="57289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>
                <a:solidFill>
                  <a:srgbClr val="181818"/>
                </a:solidFill>
              </a:rPr>
              <a:t>Линия УМК </a:t>
            </a:r>
            <a:r>
              <a:rPr lang="ru-RU" sz="1200" dirty="0" smtClean="0">
                <a:solidFill>
                  <a:srgbClr val="181818"/>
                </a:solidFill>
              </a:rPr>
              <a:t>Суховой. </a:t>
            </a:r>
            <a:r>
              <a:rPr lang="ru-RU" sz="1200" dirty="0">
                <a:solidFill>
                  <a:srgbClr val="181818"/>
                </a:solidFill>
              </a:rPr>
              <a:t>Живая природа </a:t>
            </a:r>
          </a:p>
          <a:p>
            <a:r>
              <a:rPr lang="ru-RU" sz="1200" dirty="0">
                <a:solidFill>
                  <a:srgbClr val="181818"/>
                </a:solidFill>
              </a:rPr>
              <a:t>(5-11 </a:t>
            </a:r>
            <a:r>
              <a:rPr lang="ru-RU" sz="1200" dirty="0" err="1">
                <a:solidFill>
                  <a:srgbClr val="181818"/>
                </a:solidFill>
              </a:rPr>
              <a:t>кл</a:t>
            </a:r>
            <a:r>
              <a:rPr lang="ru-RU" sz="1200" dirty="0">
                <a:solidFill>
                  <a:srgbClr val="181818"/>
                </a:solidFill>
              </a:rPr>
              <a:t>)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5224641" y="2130146"/>
            <a:ext cx="2113515" cy="514531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srgbClr val="FFFFFF"/>
                </a:solidFill>
              </a:rPr>
              <a:t>Линия УМК </a:t>
            </a:r>
            <a:r>
              <a:rPr lang="ru-RU" sz="1200" b="1" dirty="0">
                <a:solidFill>
                  <a:srgbClr val="FFFFFF"/>
                </a:solidFill>
              </a:rPr>
              <a:t>Пономаревой (</a:t>
            </a:r>
            <a:r>
              <a:rPr lang="ru-RU" sz="1200" b="1" dirty="0" err="1">
                <a:solidFill>
                  <a:srgbClr val="FFFFFF"/>
                </a:solidFill>
              </a:rPr>
              <a:t>конц</a:t>
            </a:r>
            <a:r>
              <a:rPr lang="ru-RU" sz="1200" b="1" dirty="0">
                <a:solidFill>
                  <a:srgbClr val="FFFFFF"/>
                </a:solidFill>
              </a:rPr>
              <a:t>.) </a:t>
            </a:r>
            <a:r>
              <a:rPr lang="ru-RU" sz="1200" b="1" dirty="0" smtClean="0">
                <a:solidFill>
                  <a:srgbClr val="FFFFFF"/>
                </a:solidFill>
              </a:rPr>
              <a:t>(</a:t>
            </a:r>
            <a:r>
              <a:rPr lang="ru-RU" sz="1200" b="1" dirty="0">
                <a:solidFill>
                  <a:srgbClr val="FFFFFF"/>
                </a:solidFill>
              </a:rPr>
              <a:t>5-11 </a:t>
            </a:r>
            <a:r>
              <a:rPr lang="ru-RU" sz="1200" b="1" dirty="0" err="1" smtClean="0">
                <a:solidFill>
                  <a:srgbClr val="FFFFFF"/>
                </a:solidFill>
              </a:rPr>
              <a:t>кл</a:t>
            </a:r>
            <a:r>
              <a:rPr lang="ru-RU" sz="1200" b="1" dirty="0" smtClean="0">
                <a:solidFill>
                  <a:srgbClr val="FFFFFF"/>
                </a:solidFill>
              </a:rPr>
              <a:t>)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5224641" y="3756386"/>
            <a:ext cx="2113515" cy="514531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srgbClr val="FFFFFF"/>
                </a:solidFill>
              </a:rPr>
              <a:t>Линия УМК </a:t>
            </a:r>
            <a:r>
              <a:rPr lang="ru-RU" sz="1200" b="1" dirty="0">
                <a:solidFill>
                  <a:srgbClr val="FFFFFF"/>
                </a:solidFill>
              </a:rPr>
              <a:t>Пономаревой (</a:t>
            </a:r>
            <a:r>
              <a:rPr lang="ru-RU" sz="1200" b="1" dirty="0" err="1">
                <a:solidFill>
                  <a:srgbClr val="FFFFFF"/>
                </a:solidFill>
              </a:rPr>
              <a:t>лин</a:t>
            </a:r>
            <a:r>
              <a:rPr lang="ru-RU" sz="1200" b="1" dirty="0">
                <a:solidFill>
                  <a:srgbClr val="FFFFFF"/>
                </a:solidFill>
              </a:rPr>
              <a:t>.) </a:t>
            </a:r>
            <a:r>
              <a:rPr lang="ru-RU" sz="1200" b="1" dirty="0" smtClean="0">
                <a:solidFill>
                  <a:srgbClr val="FFFFFF"/>
                </a:solidFill>
              </a:rPr>
              <a:t>(</a:t>
            </a:r>
            <a:r>
              <a:rPr lang="ru-RU" sz="1200" b="1" dirty="0">
                <a:solidFill>
                  <a:srgbClr val="FFFFFF"/>
                </a:solidFill>
              </a:rPr>
              <a:t>5-11 </a:t>
            </a:r>
            <a:r>
              <a:rPr lang="ru-RU" sz="1200" b="1" dirty="0" err="1" smtClean="0">
                <a:solidFill>
                  <a:srgbClr val="FFFFFF"/>
                </a:solidFill>
              </a:rPr>
              <a:t>кл</a:t>
            </a:r>
            <a:r>
              <a:rPr lang="ru-RU" sz="1200" b="1" dirty="0" smtClean="0">
                <a:solidFill>
                  <a:srgbClr val="FFFFFF"/>
                </a:solidFill>
              </a:rPr>
              <a:t>)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5224641" y="5127346"/>
            <a:ext cx="2113515" cy="514531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srgbClr val="FFFFFF"/>
                </a:solidFill>
              </a:rPr>
              <a:t>Линия УМК </a:t>
            </a:r>
            <a:r>
              <a:rPr lang="ru-RU" sz="1200" b="1" dirty="0" err="1" smtClean="0">
                <a:solidFill>
                  <a:srgbClr val="FFFFFF"/>
                </a:solidFill>
              </a:rPr>
              <a:t>Сивоглазова</a:t>
            </a:r>
            <a:r>
              <a:rPr lang="ru-RU" sz="1200" b="1" dirty="0" smtClean="0">
                <a:solidFill>
                  <a:srgbClr val="FFFFFF"/>
                </a:solidFill>
              </a:rPr>
              <a:t> (</a:t>
            </a:r>
            <a:r>
              <a:rPr lang="ru-RU" sz="1200" b="1" dirty="0" err="1" smtClean="0">
                <a:solidFill>
                  <a:srgbClr val="FFFFFF"/>
                </a:solidFill>
              </a:rPr>
              <a:t>конц</a:t>
            </a:r>
            <a:r>
              <a:rPr lang="ru-RU" sz="1200" b="1" dirty="0" smtClean="0">
                <a:solidFill>
                  <a:srgbClr val="FFFFFF"/>
                </a:solidFill>
              </a:rPr>
              <a:t>.) (5-9 </a:t>
            </a:r>
            <a:r>
              <a:rPr lang="ru-RU" sz="1200" b="1" dirty="0" err="1" smtClean="0">
                <a:solidFill>
                  <a:srgbClr val="FFFFFF"/>
                </a:solidFill>
              </a:rPr>
              <a:t>кл</a:t>
            </a:r>
            <a:r>
              <a:rPr lang="ru-RU" sz="1200" b="1" dirty="0" smtClean="0">
                <a:solidFill>
                  <a:srgbClr val="FFFFFF"/>
                </a:solidFill>
              </a:rPr>
              <a:t>)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9398244" y="5092787"/>
            <a:ext cx="1728000" cy="511155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srgbClr val="FFFFFF"/>
                </a:solidFill>
              </a:rPr>
              <a:t>Линия УМК </a:t>
            </a:r>
            <a:r>
              <a:rPr lang="ru-RU" sz="1200" b="1" dirty="0" err="1" smtClean="0">
                <a:solidFill>
                  <a:srgbClr val="FFFFFF"/>
                </a:solidFill>
              </a:rPr>
              <a:t>Сивоглазова</a:t>
            </a:r>
            <a:r>
              <a:rPr lang="ru-RU" sz="1200" b="1" dirty="0">
                <a:solidFill>
                  <a:srgbClr val="FFFFFF"/>
                </a:solidFill>
              </a:rPr>
              <a:t> </a:t>
            </a:r>
            <a:r>
              <a:rPr lang="ru-RU" sz="1200" b="1" dirty="0" smtClean="0">
                <a:solidFill>
                  <a:srgbClr val="FFFFFF"/>
                </a:solidFill>
              </a:rPr>
              <a:t>(10-11 </a:t>
            </a:r>
            <a:r>
              <a:rPr lang="ru-RU" sz="1200" b="1" dirty="0" err="1" smtClean="0">
                <a:solidFill>
                  <a:srgbClr val="FFFFFF"/>
                </a:solidFill>
              </a:rPr>
              <a:t>кл</a:t>
            </a:r>
            <a:r>
              <a:rPr lang="ru-RU" sz="1200" b="1" dirty="0" smtClean="0">
                <a:solidFill>
                  <a:srgbClr val="FFFFFF"/>
                </a:solidFill>
              </a:rPr>
              <a:t>)</a:t>
            </a:r>
            <a:endParaRPr lang="ru-RU" sz="1200" b="1" dirty="0">
              <a:solidFill>
                <a:srgbClr val="FFFFFF"/>
              </a:solidFill>
            </a:endParaRPr>
          </a:p>
        </p:txBody>
      </p:sp>
      <p:pic>
        <p:nvPicPr>
          <p:cNvPr id="90" name="Picture 5" descr="C:\Users\Gabyash.DE\Desktop\cover1__w600 (11).jpg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05857" y="1908699"/>
            <a:ext cx="540000" cy="72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1" name="Picture 3" descr="C:\Users\Gabyash.DE\Desktop\cover1__w600 (9).jpg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347439" y="2010258"/>
            <a:ext cx="540000" cy="72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2" name="Picture 28" descr="ÐÐ¸Ð¾Ð»Ð¾Ð³Ð¸Ñ. 9 ÐºÐ»Ð°ÑÑ. Ð§ÐµÐ»Ð¾Ð²ÐµÐº. Ð£ÑÐµÐ±Ð½Ð¸Ðº (Ð¡Ð¸Ð½Ð¸Ð¹). ÐÐÐ Ð¢ÐÐÐÐÐ¬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319" y="3743988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26" descr="ÐÐ¸Ð¾Ð»Ð¾Ð³Ð¸Ñ. ÐÐ²ÐµÐ´ÐµÐ½Ð¸Ðµ Ð² Ð±Ð¸Ð¾Ð»Ð¾Ð³Ð¸Ñ. 5 ÐºÐ»Ð°ÑÑ. (Ð¡Ð¸Ð½Ð¸Ð¹). ÐÐÐ Ð¢ÐÐÐÐÐ¬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481" y="3821749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33" descr="ÐÐ¸Ð¾Ð»Ð¾Ð³Ð¸Ñ. ÐÐ±ÑÐ¸Ðµ Ð·Ð°ÐºÐ¾Ð½Ð¾Ð¼ÐµÑÐ½Ð¾ÑÑÐ¸. 9 ÐºÐ»Ð°ÑÑ. Ð£ÑÐµÐ±Ð½Ð¸Ðº. (ÐÑÐ°ÑÐ½ÑÐ¹) ÐÐÐ Ð¢ÐÐÐÐÐ¬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319" y="5052498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31" descr="ÐÐ¸Ð¾Ð»Ð¾Ð³Ð¸Ñ. ÐÐ²ÐµÐ´ÐµÐ½Ð¸Ðµ Ð² Ð±Ð¸Ð¾Ð»Ð¾Ð³Ð¸Ñ. 5 ÐºÐ»Ð°ÑÑ. Ð£ÑÐµÐ±Ð½Ð¸Ðº. (ÐÑÐ°ÑÐ½ÑÐ¹). ÐÐÐ Ð¢ÐÐÐÐÐ¬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481" y="5122313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37" descr="ÐÐ¸Ð¾Ð»Ð¾Ð³Ð¸Ñ. 9 ÐºÐ»Ð°ÑÑ. ÐÐ²ÐµÐ´ÐµÐ½Ð¸Ðµ Ð² Ð¾Ð±ÑÑÑ Ð±Ð¸Ð¾Ð»Ð¾Ð³Ð¸Ñ. Ð£ÑÐµÐ±Ð½Ð¸Ðº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828" y="1548973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35" descr="ÐÐ¸Ð¾Ð»Ð¾Ð³Ð¸Ñ. 5 ÐºÐ»Ð°ÑÑ. ÐÐ°ÐºÑÐµÑÐ¸Ð¸, Ð³ÑÐ¸Ð±Ñ, ÑÐ°ÑÑÐµÐ½Ð¸Ñ. Ð£ÑÐµÐ±Ð½Ð¸Ðº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60" y="1676537"/>
            <a:ext cx="540000" cy="72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43" descr="ÐÐ¸Ð¾Ð»Ð¾Ð³Ð¸Ñ. 9 Â ÐºÐ»Ð°ÑÑ. Ð£ÑÐµÐ±Ð½Ð¸Ðº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1927" y="3560298"/>
            <a:ext cx="540000" cy="720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41" descr="ÐÐ¸Ð¾Ð»Ð¾Ð³Ð¸Ñ. 5-6Â ÐºÐ»Ð°ÑÑ. Ð£ÑÐµÐ±Ð½Ð¸Ðº.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7439" y="3657964"/>
            <a:ext cx="540000" cy="720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Рисунок 35" descr="Биология. 9  класс. Учебник">
            <a:hlinkClick r:id="rId15" tooltip="&quot;Биология. 9  класс. Учебник&quot;"/>
          </p:cNvPr>
          <p:cNvPicPr>
            <a:picLocks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966319" y="2607983"/>
            <a:ext cx="540000" cy="720000"/>
          </a:xfrm>
          <a:prstGeom prst="rect">
            <a:avLst/>
          </a:prstGeom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106" name="Прямоугольник 105"/>
          <p:cNvSpPr/>
          <p:nvPr/>
        </p:nvSpPr>
        <p:spPr>
          <a:xfrm>
            <a:off x="9398244" y="2858263"/>
            <a:ext cx="1728000" cy="511723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srgbClr val="FFFFFF"/>
                </a:solidFill>
              </a:rPr>
              <a:t>Линия УМК </a:t>
            </a:r>
            <a:r>
              <a:rPr lang="ru-RU" sz="1200" b="1" dirty="0">
                <a:solidFill>
                  <a:srgbClr val="FFFFFF"/>
                </a:solidFill>
              </a:rPr>
              <a:t>Сонина  </a:t>
            </a:r>
          </a:p>
          <a:p>
            <a:r>
              <a:rPr lang="ru-RU" sz="1200" b="1" dirty="0">
                <a:solidFill>
                  <a:srgbClr val="FFFFFF"/>
                </a:solidFill>
              </a:rPr>
              <a:t>(10-11 </a:t>
            </a:r>
            <a:r>
              <a:rPr lang="ru-RU" sz="1200" b="1" dirty="0" err="1" smtClean="0">
                <a:solidFill>
                  <a:srgbClr val="FFFFFF"/>
                </a:solidFill>
              </a:rPr>
              <a:t>кл</a:t>
            </a:r>
            <a:r>
              <a:rPr lang="ru-RU" sz="1200" b="1" dirty="0" smtClean="0">
                <a:solidFill>
                  <a:srgbClr val="FFFFFF"/>
                </a:solidFill>
              </a:rPr>
              <a:t>)</a:t>
            </a:r>
            <a:endParaRPr lang="ru-RU" sz="1200" b="1" dirty="0">
              <a:solidFill>
                <a:srgbClr val="FFFFFF"/>
              </a:solidFill>
            </a:endParaRPr>
          </a:p>
        </p:txBody>
      </p:sp>
      <p:pic>
        <p:nvPicPr>
          <p:cNvPr id="110" name="Picture 6" descr="C:\Users\Gabyash.DE\Desktop\cover1__w600 (21).jpg"/>
          <p:cNvPicPr>
            <a:picLocks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725188" y="2665791"/>
            <a:ext cx="540000" cy="72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1" name="Picture 5" descr="C:\Users\Gabyash.DE\Desktop\cover1__w600 (20).jpg"/>
          <p:cNvPicPr>
            <a:picLocks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581172" y="2825748"/>
            <a:ext cx="540000" cy="72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4" name="Рисунок 113"/>
          <p:cNvPicPr>
            <a:picLocks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771481" y="2747786"/>
            <a:ext cx="540000" cy="72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0" name="Заголовок 1"/>
          <p:cNvSpPr txBox="1">
            <a:spLocks/>
          </p:cNvSpPr>
          <p:nvPr/>
        </p:nvSpPr>
        <p:spPr>
          <a:xfrm>
            <a:off x="237604" y="198848"/>
            <a:ext cx="11869200" cy="745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400" b="1">
                <a:solidFill>
                  <a:srgbClr val="2D349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НАШИ РЕКОМЕНДАЦИИ ПО ПЕРЕХОДАМ НА УМК ПО </a:t>
            </a:r>
            <a:r>
              <a:rPr lang="ru-RU" dirty="0">
                <a:solidFill>
                  <a:srgbClr val="EB2049"/>
                </a:solidFill>
              </a:rPr>
              <a:t>БИОЛОГИИ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7357751" y="5346174"/>
            <a:ext cx="1070732" cy="526"/>
          </a:xfrm>
          <a:prstGeom prst="line">
            <a:avLst/>
          </a:prstGeom>
          <a:solidFill>
            <a:srgbClr val="AE2C25"/>
          </a:solidFill>
          <a:ln w="12700">
            <a:solidFill>
              <a:srgbClr val="2D3494"/>
            </a:solidFill>
            <a:miter lim="800000"/>
            <a:headEnd type="none" w="med" len="med"/>
            <a:tailEnd type="triangle"/>
          </a:ln>
        </p:spPr>
      </p:cxnSp>
      <p:cxnSp>
        <p:nvCxnSpPr>
          <p:cNvPr id="7" name="Соединительная линия уступом 6"/>
          <p:cNvCxnSpPr>
            <a:stCxn id="84" idx="3"/>
          </p:cNvCxnSpPr>
          <p:nvPr/>
        </p:nvCxnSpPr>
        <p:spPr>
          <a:xfrm>
            <a:off x="7338155" y="2387412"/>
            <a:ext cx="1045180" cy="798133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9525">
            <a:solidFill>
              <a:srgbClr val="2D3494"/>
            </a:solidFill>
            <a:miter lim="800000"/>
            <a:headEnd type="none" w="med" len="med"/>
            <a:tailEnd type="triangle"/>
          </a:ln>
        </p:spPr>
      </p:cxnSp>
      <p:cxnSp>
        <p:nvCxnSpPr>
          <p:cNvPr id="9" name="Соединительная линия уступом 8"/>
          <p:cNvCxnSpPr>
            <a:stCxn id="85" idx="3"/>
          </p:cNvCxnSpPr>
          <p:nvPr/>
        </p:nvCxnSpPr>
        <p:spPr>
          <a:xfrm flipV="1">
            <a:off x="7338155" y="3183455"/>
            <a:ext cx="1045180" cy="830201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9525">
            <a:solidFill>
              <a:srgbClr val="2D3494"/>
            </a:solidFill>
            <a:miter lim="800000"/>
            <a:headEnd type="none" w="med" len="med"/>
            <a:tailEnd type="triangle"/>
          </a:ln>
        </p:spPr>
      </p:cxnSp>
      <p:sp>
        <p:nvSpPr>
          <p:cNvPr id="113" name="Прямоугольник 112"/>
          <p:cNvSpPr/>
          <p:nvPr/>
        </p:nvSpPr>
        <p:spPr>
          <a:xfrm>
            <a:off x="4065339" y="1108836"/>
            <a:ext cx="7249393" cy="3351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000" b="1" dirty="0" smtClean="0">
                <a:solidFill>
                  <a:srgbClr val="2D3494"/>
                </a:solidFill>
              </a:rPr>
              <a:t>ПРЕЕМСТВЕННЫЕ ЛИНИИ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3920032" y="6401964"/>
            <a:ext cx="842421" cy="216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4784195" y="6394548"/>
            <a:ext cx="1142383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900" dirty="0" smtClean="0">
                <a:solidFill>
                  <a:srgbClr val="181818">
                    <a:lumMod val="75000"/>
                    <a:lumOff val="25000"/>
                  </a:srgbClr>
                </a:solidFill>
              </a:rPr>
              <a:t>Учебники ФП 2018</a:t>
            </a:r>
            <a:endParaRPr lang="ru-RU" sz="900" dirty="0">
              <a:solidFill>
                <a:srgbClr val="181818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1423429" y="6325349"/>
            <a:ext cx="2496603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900" dirty="0">
                <a:solidFill>
                  <a:srgbClr val="181818">
                    <a:lumMod val="75000"/>
                    <a:lumOff val="25000"/>
                  </a:srgbClr>
                </a:solidFill>
              </a:rPr>
              <a:t>Учебные пособия. По запросу могут быть предоставлены учебники 2018 года</a:t>
            </a:r>
          </a:p>
        </p:txBody>
      </p:sp>
      <p:sp>
        <p:nvSpPr>
          <p:cNvPr id="120" name="Прямоугольник 119"/>
          <p:cNvSpPr/>
          <p:nvPr/>
        </p:nvSpPr>
        <p:spPr>
          <a:xfrm>
            <a:off x="559336" y="6401964"/>
            <a:ext cx="842421" cy="2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>
              <a:solidFill>
                <a:srgbClr val="181818"/>
              </a:solidFill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736472" y="1118564"/>
            <a:ext cx="2466099" cy="3351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000" b="1" dirty="0" smtClean="0">
                <a:solidFill>
                  <a:srgbClr val="2D3494"/>
                </a:solidFill>
              </a:rPr>
              <a:t>ПЕРЕХОДЫ</a:t>
            </a:r>
          </a:p>
        </p:txBody>
      </p:sp>
      <p:grpSp>
        <p:nvGrpSpPr>
          <p:cNvPr id="63" name="Group 115"/>
          <p:cNvGrpSpPr/>
          <p:nvPr/>
        </p:nvGrpSpPr>
        <p:grpSpPr>
          <a:xfrm>
            <a:off x="3417548" y="2072309"/>
            <a:ext cx="470487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64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  <p:sp>
          <p:nvSpPr>
            <p:cNvPr id="65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</p:grpSp>
      <p:grpSp>
        <p:nvGrpSpPr>
          <p:cNvPr id="76" name="Group 115"/>
          <p:cNvGrpSpPr/>
          <p:nvPr/>
        </p:nvGrpSpPr>
        <p:grpSpPr>
          <a:xfrm>
            <a:off x="3417548" y="3698650"/>
            <a:ext cx="470487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77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  <p:sp>
          <p:nvSpPr>
            <p:cNvPr id="78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</p:grpSp>
      <p:grpSp>
        <p:nvGrpSpPr>
          <p:cNvPr id="79" name="Group 115"/>
          <p:cNvGrpSpPr/>
          <p:nvPr/>
        </p:nvGrpSpPr>
        <p:grpSpPr>
          <a:xfrm>
            <a:off x="3417548" y="5069509"/>
            <a:ext cx="470487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88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  <p:sp>
          <p:nvSpPr>
            <p:cNvPr id="89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10945913" y="2556716"/>
            <a:ext cx="460875" cy="450001"/>
            <a:chOff x="8680821" y="529995"/>
            <a:chExt cx="474669" cy="444349"/>
          </a:xfrm>
        </p:grpSpPr>
        <p:sp>
          <p:nvSpPr>
            <p:cNvPr id="68" name="object 26"/>
            <p:cNvSpPr/>
            <p:nvPr/>
          </p:nvSpPr>
          <p:spPr>
            <a:xfrm>
              <a:off x="8680821" y="529995"/>
              <a:ext cx="474669" cy="444349"/>
            </a:xfrm>
            <a:custGeom>
              <a:avLst/>
              <a:gdLst/>
              <a:ahLst/>
              <a:cxnLst/>
              <a:rect l="l" t="t" r="r" b="b"/>
              <a:pathLst>
                <a:path w="576579" h="539750">
                  <a:moveTo>
                    <a:pt x="288163" y="0"/>
                  </a:moveTo>
                  <a:lnTo>
                    <a:pt x="241425" y="3530"/>
                  </a:lnTo>
                  <a:lnTo>
                    <a:pt x="197087" y="13753"/>
                  </a:lnTo>
                  <a:lnTo>
                    <a:pt x="155743" y="30113"/>
                  </a:lnTo>
                  <a:lnTo>
                    <a:pt x="117985" y="52055"/>
                  </a:lnTo>
                  <a:lnTo>
                    <a:pt x="84407" y="79025"/>
                  </a:lnTo>
                  <a:lnTo>
                    <a:pt x="55603" y="110468"/>
                  </a:lnTo>
                  <a:lnTo>
                    <a:pt x="32167" y="145829"/>
                  </a:lnTo>
                  <a:lnTo>
                    <a:pt x="14692" y="184554"/>
                  </a:lnTo>
                  <a:lnTo>
                    <a:pt x="3772" y="226087"/>
                  </a:lnTo>
                  <a:lnTo>
                    <a:pt x="0" y="269875"/>
                  </a:lnTo>
                  <a:lnTo>
                    <a:pt x="3772" y="313662"/>
                  </a:lnTo>
                  <a:lnTo>
                    <a:pt x="14692" y="355195"/>
                  </a:lnTo>
                  <a:lnTo>
                    <a:pt x="32167" y="393920"/>
                  </a:lnTo>
                  <a:lnTo>
                    <a:pt x="55603" y="429281"/>
                  </a:lnTo>
                  <a:lnTo>
                    <a:pt x="84407" y="460724"/>
                  </a:lnTo>
                  <a:lnTo>
                    <a:pt x="117985" y="487694"/>
                  </a:lnTo>
                  <a:lnTo>
                    <a:pt x="155743" y="509636"/>
                  </a:lnTo>
                  <a:lnTo>
                    <a:pt x="197087" y="525996"/>
                  </a:lnTo>
                  <a:lnTo>
                    <a:pt x="241425" y="536219"/>
                  </a:lnTo>
                  <a:lnTo>
                    <a:pt x="288163" y="539750"/>
                  </a:lnTo>
                  <a:lnTo>
                    <a:pt x="334900" y="536219"/>
                  </a:lnTo>
                  <a:lnTo>
                    <a:pt x="379238" y="525996"/>
                  </a:lnTo>
                  <a:lnTo>
                    <a:pt x="420582" y="509636"/>
                  </a:lnTo>
                  <a:lnTo>
                    <a:pt x="458340" y="487694"/>
                  </a:lnTo>
                  <a:lnTo>
                    <a:pt x="491918" y="460724"/>
                  </a:lnTo>
                  <a:lnTo>
                    <a:pt x="520722" y="429281"/>
                  </a:lnTo>
                  <a:lnTo>
                    <a:pt x="544158" y="393920"/>
                  </a:lnTo>
                  <a:lnTo>
                    <a:pt x="561633" y="355195"/>
                  </a:lnTo>
                  <a:lnTo>
                    <a:pt x="572553" y="313662"/>
                  </a:lnTo>
                  <a:lnTo>
                    <a:pt x="576326" y="269875"/>
                  </a:lnTo>
                  <a:lnTo>
                    <a:pt x="572553" y="226087"/>
                  </a:lnTo>
                  <a:lnTo>
                    <a:pt x="561633" y="184554"/>
                  </a:lnTo>
                  <a:lnTo>
                    <a:pt x="544158" y="145829"/>
                  </a:lnTo>
                  <a:lnTo>
                    <a:pt x="520722" y="110468"/>
                  </a:lnTo>
                  <a:lnTo>
                    <a:pt x="491918" y="79025"/>
                  </a:lnTo>
                  <a:lnTo>
                    <a:pt x="458340" y="52055"/>
                  </a:lnTo>
                  <a:lnTo>
                    <a:pt x="420582" y="30113"/>
                  </a:lnTo>
                  <a:lnTo>
                    <a:pt x="379238" y="13753"/>
                  </a:lnTo>
                  <a:lnTo>
                    <a:pt x="334900" y="3530"/>
                  </a:lnTo>
                  <a:lnTo>
                    <a:pt x="288163" y="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2D3494"/>
              </a:solidFill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0" h="0"/>
            </a:sp3d>
          </p:spPr>
          <p:txBody>
            <a:bodyPr wrap="square" lIns="0" tIns="0" rIns="0" bIns="0" rtlCol="0"/>
            <a:lstStyle/>
            <a:p>
              <a:endParaRPr>
                <a:solidFill>
                  <a:srgbClr val="181818"/>
                </a:solidFill>
              </a:endParaRPr>
            </a:p>
          </p:txBody>
        </p:sp>
        <p:sp>
          <p:nvSpPr>
            <p:cNvPr id="69" name="object 28"/>
            <p:cNvSpPr txBox="1"/>
            <p:nvPr/>
          </p:nvSpPr>
          <p:spPr>
            <a:xfrm>
              <a:off x="8824170" y="553968"/>
              <a:ext cx="175127" cy="376723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2400" b="1" spc="-305" dirty="0">
                  <a:solidFill>
                    <a:srgbClr val="2D3494"/>
                  </a:solidFill>
                  <a:cs typeface="Arial"/>
                </a:rPr>
                <a:t>Б</a:t>
              </a:r>
              <a:r>
                <a:rPr lang="ru-RU" sz="2400" spc="-305" dirty="0" smtClean="0">
                  <a:solidFill>
                    <a:srgbClr val="2D3494"/>
                  </a:solidFill>
                  <a:cs typeface="Arial"/>
                </a:rPr>
                <a:t> </a:t>
              </a:r>
              <a:endParaRPr sz="2400" dirty="0">
                <a:solidFill>
                  <a:srgbClr val="2D3494"/>
                </a:solidFill>
                <a:cs typeface="Arial"/>
              </a:endParaRP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10780116" y="4748261"/>
            <a:ext cx="874925" cy="493749"/>
            <a:chOff x="3165173" y="951958"/>
            <a:chExt cx="874925" cy="493749"/>
          </a:xfrm>
        </p:grpSpPr>
        <p:sp>
          <p:nvSpPr>
            <p:cNvPr id="71" name="object 26"/>
            <p:cNvSpPr/>
            <p:nvPr/>
          </p:nvSpPr>
          <p:spPr>
            <a:xfrm>
              <a:off x="3165173" y="951958"/>
              <a:ext cx="874925" cy="493749"/>
            </a:xfrm>
            <a:custGeom>
              <a:avLst/>
              <a:gdLst/>
              <a:ahLst/>
              <a:cxnLst/>
              <a:rect l="l" t="t" r="r" b="b"/>
              <a:pathLst>
                <a:path w="576579" h="539750">
                  <a:moveTo>
                    <a:pt x="288163" y="0"/>
                  </a:moveTo>
                  <a:lnTo>
                    <a:pt x="241425" y="3530"/>
                  </a:lnTo>
                  <a:lnTo>
                    <a:pt x="197087" y="13753"/>
                  </a:lnTo>
                  <a:lnTo>
                    <a:pt x="155743" y="30113"/>
                  </a:lnTo>
                  <a:lnTo>
                    <a:pt x="117985" y="52055"/>
                  </a:lnTo>
                  <a:lnTo>
                    <a:pt x="84407" y="79025"/>
                  </a:lnTo>
                  <a:lnTo>
                    <a:pt x="55603" y="110468"/>
                  </a:lnTo>
                  <a:lnTo>
                    <a:pt x="32167" y="145829"/>
                  </a:lnTo>
                  <a:lnTo>
                    <a:pt x="14692" y="184554"/>
                  </a:lnTo>
                  <a:lnTo>
                    <a:pt x="3772" y="226087"/>
                  </a:lnTo>
                  <a:lnTo>
                    <a:pt x="0" y="269875"/>
                  </a:lnTo>
                  <a:lnTo>
                    <a:pt x="3772" y="313662"/>
                  </a:lnTo>
                  <a:lnTo>
                    <a:pt x="14692" y="355195"/>
                  </a:lnTo>
                  <a:lnTo>
                    <a:pt x="32167" y="393920"/>
                  </a:lnTo>
                  <a:lnTo>
                    <a:pt x="55603" y="429281"/>
                  </a:lnTo>
                  <a:lnTo>
                    <a:pt x="84407" y="460724"/>
                  </a:lnTo>
                  <a:lnTo>
                    <a:pt x="117985" y="487694"/>
                  </a:lnTo>
                  <a:lnTo>
                    <a:pt x="155743" y="509636"/>
                  </a:lnTo>
                  <a:lnTo>
                    <a:pt x="197087" y="525996"/>
                  </a:lnTo>
                  <a:lnTo>
                    <a:pt x="241425" y="536219"/>
                  </a:lnTo>
                  <a:lnTo>
                    <a:pt x="288163" y="539750"/>
                  </a:lnTo>
                  <a:lnTo>
                    <a:pt x="334900" y="536219"/>
                  </a:lnTo>
                  <a:lnTo>
                    <a:pt x="379238" y="525996"/>
                  </a:lnTo>
                  <a:lnTo>
                    <a:pt x="420582" y="509636"/>
                  </a:lnTo>
                  <a:lnTo>
                    <a:pt x="458340" y="487694"/>
                  </a:lnTo>
                  <a:lnTo>
                    <a:pt x="491918" y="460724"/>
                  </a:lnTo>
                  <a:lnTo>
                    <a:pt x="520722" y="429281"/>
                  </a:lnTo>
                  <a:lnTo>
                    <a:pt x="544158" y="393920"/>
                  </a:lnTo>
                  <a:lnTo>
                    <a:pt x="561633" y="355195"/>
                  </a:lnTo>
                  <a:lnTo>
                    <a:pt x="572553" y="313662"/>
                  </a:lnTo>
                  <a:lnTo>
                    <a:pt x="576326" y="269875"/>
                  </a:lnTo>
                  <a:lnTo>
                    <a:pt x="572553" y="226087"/>
                  </a:lnTo>
                  <a:lnTo>
                    <a:pt x="561633" y="184554"/>
                  </a:lnTo>
                  <a:lnTo>
                    <a:pt x="544158" y="145829"/>
                  </a:lnTo>
                  <a:lnTo>
                    <a:pt x="520722" y="110468"/>
                  </a:lnTo>
                  <a:lnTo>
                    <a:pt x="491918" y="79025"/>
                  </a:lnTo>
                  <a:lnTo>
                    <a:pt x="458340" y="52055"/>
                  </a:lnTo>
                  <a:lnTo>
                    <a:pt x="420582" y="30113"/>
                  </a:lnTo>
                  <a:lnTo>
                    <a:pt x="379238" y="13753"/>
                  </a:lnTo>
                  <a:lnTo>
                    <a:pt x="334900" y="3530"/>
                  </a:lnTo>
                  <a:lnTo>
                    <a:pt x="288163" y="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2D3494"/>
              </a:solidFill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0" h="0"/>
            </a:sp3d>
          </p:spPr>
          <p:txBody>
            <a:bodyPr wrap="square" lIns="0" tIns="0" rIns="0" bIns="0" rtlCol="0"/>
            <a:lstStyle/>
            <a:p>
              <a:endParaRPr>
                <a:solidFill>
                  <a:srgbClr val="181818"/>
                </a:solidFill>
              </a:endParaRPr>
            </a:p>
          </p:txBody>
        </p:sp>
        <p:sp>
          <p:nvSpPr>
            <p:cNvPr id="72" name="object 28"/>
            <p:cNvSpPr txBox="1"/>
            <p:nvPr/>
          </p:nvSpPr>
          <p:spPr>
            <a:xfrm>
              <a:off x="3319304" y="1004675"/>
              <a:ext cx="175127" cy="38151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2400" b="1" spc="-305" dirty="0">
                  <a:solidFill>
                    <a:srgbClr val="2D3494"/>
                  </a:solidFill>
                  <a:cs typeface="Arial"/>
                </a:rPr>
                <a:t>Б </a:t>
              </a:r>
              <a:endParaRPr sz="2400" b="1" spc="-305" dirty="0">
                <a:solidFill>
                  <a:srgbClr val="2D3494"/>
                </a:solidFill>
                <a:cs typeface="Arial"/>
              </a:endParaRPr>
            </a:p>
          </p:txBody>
        </p:sp>
        <p:sp>
          <p:nvSpPr>
            <p:cNvPr id="73" name="object 28"/>
            <p:cNvSpPr txBox="1"/>
            <p:nvPr/>
          </p:nvSpPr>
          <p:spPr>
            <a:xfrm>
              <a:off x="3718922" y="1004675"/>
              <a:ext cx="175126" cy="38151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2400" b="1" spc="-305" dirty="0" smtClean="0">
                  <a:solidFill>
                    <a:srgbClr val="2D3494"/>
                  </a:solidFill>
                  <a:cs typeface="Arial"/>
                </a:rPr>
                <a:t>У</a:t>
              </a:r>
              <a:endParaRPr sz="2400" b="1" dirty="0">
                <a:solidFill>
                  <a:srgbClr val="2D3494"/>
                </a:solidFill>
                <a:cs typeface="Arial"/>
              </a:endParaRPr>
            </a:p>
          </p:txBody>
        </p:sp>
        <p:sp>
          <p:nvSpPr>
            <p:cNvPr id="74" name="object 28"/>
            <p:cNvSpPr txBox="1"/>
            <p:nvPr/>
          </p:nvSpPr>
          <p:spPr>
            <a:xfrm>
              <a:off x="3523977" y="994947"/>
              <a:ext cx="175126" cy="38151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2400" b="1" spc="-305" dirty="0">
                  <a:solidFill>
                    <a:srgbClr val="2D3494"/>
                  </a:solidFill>
                  <a:cs typeface="Arial"/>
                </a:rPr>
                <a:t>+</a:t>
              </a:r>
              <a:r>
                <a:rPr lang="ru-RU" sz="2400" spc="-305" dirty="0" smtClean="0">
                  <a:solidFill>
                    <a:srgbClr val="2D3494"/>
                  </a:solidFill>
                  <a:cs typeface="Arial"/>
                </a:rPr>
                <a:t> </a:t>
              </a:r>
              <a:endParaRPr sz="2400" dirty="0">
                <a:solidFill>
                  <a:srgbClr val="2D3494"/>
                </a:solidFill>
                <a:cs typeface="Arial"/>
              </a:endParaRPr>
            </a:p>
          </p:txBody>
        </p:sp>
      </p:grpSp>
      <p:cxnSp>
        <p:nvCxnSpPr>
          <p:cNvPr id="8" name="Прямая соединительная линия 7"/>
          <p:cNvCxnSpPr/>
          <p:nvPr/>
        </p:nvCxnSpPr>
        <p:spPr>
          <a:xfrm>
            <a:off x="7863205" y="3931258"/>
            <a:ext cx="0" cy="1414916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miter lim="800000"/>
            <a:headEnd type="none" w="med" len="med"/>
            <a:tailEnd type="none"/>
          </a:ln>
        </p:spPr>
      </p:cxnSp>
      <p:pic>
        <p:nvPicPr>
          <p:cNvPr id="75" name="Рисунок 74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4530215" y="5011286"/>
            <a:ext cx="540000" cy="73378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9" name="Рисунок 98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4347439" y="5113762"/>
            <a:ext cx="540000" cy="728653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" name="Рисунок 101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8610357" y="4903866"/>
            <a:ext cx="540000" cy="71519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1" name="Рисунок 100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8510669" y="4998496"/>
            <a:ext cx="540000" cy="71519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463805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974825556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29422" name="think-cell Slide" r:id="rId4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33648" y="6184766"/>
            <a:ext cx="801895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AutoNum type="arabicPeriod"/>
            </a:pPr>
            <a:r>
              <a:rPr lang="ru-RU" sz="900" dirty="0" smtClean="0">
                <a:solidFill>
                  <a:srgbClr val="181818"/>
                </a:solidFill>
              </a:rPr>
              <a:t>Результаты всероссийского мониторинга</a:t>
            </a:r>
          </a:p>
        </p:txBody>
      </p:sp>
      <p:sp>
        <p:nvSpPr>
          <p:cNvPr id="44" name="Title 2"/>
          <p:cNvSpPr txBox="1">
            <a:spLocks/>
          </p:cNvSpPr>
          <p:nvPr/>
        </p:nvSpPr>
        <p:spPr>
          <a:xfrm>
            <a:off x="236240" y="202908"/>
            <a:ext cx="11869200" cy="745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Calibri"/>
              </a:rPr>
              <a:t>УЧИТЕЛЯ БИОЛОГИИ </a:t>
            </a:r>
            <a:r>
              <a:rPr lang="ru-RU" sz="2400" dirty="0">
                <a:latin typeface="Calibri"/>
              </a:rPr>
              <a:t>ДОВЕРЯЮТ ЛИНИЯМ УМК </a:t>
            </a:r>
            <a:br>
              <a:rPr lang="ru-RU" sz="2400" dirty="0">
                <a:latin typeface="Calibri"/>
              </a:rPr>
            </a:br>
            <a:r>
              <a:rPr lang="ru-RU" sz="2400" dirty="0">
                <a:latin typeface="Calibri"/>
              </a:rPr>
              <a:t>КОРПОРАЦИИ «РОССИЙСКИЙ УЧЕБНИК»</a:t>
            </a:r>
            <a:endParaRPr lang="ru-RU" sz="2400" dirty="0">
              <a:solidFill>
                <a:srgbClr val="EB2049"/>
              </a:solidFill>
              <a:latin typeface="Calibri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263996" y="2225072"/>
            <a:ext cx="60907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2D3494"/>
                </a:solidFill>
                <a:ea typeface="HeliosExtraCompressed"/>
                <a:cs typeface="Calibri" panose="020F0502020204030204" pitchFamily="34" charset="0"/>
              </a:rPr>
              <a:t>Линия УМК Пономаревой И.Н.</a:t>
            </a:r>
            <a:r>
              <a:rPr lang="ru-RU" dirty="0" smtClean="0">
                <a:solidFill>
                  <a:srgbClr val="181818"/>
                </a:solidFill>
                <a:ea typeface="HeliosExtraCompressed"/>
                <a:cs typeface="Calibri" panose="020F0502020204030204" pitchFamily="34" charset="0"/>
              </a:rPr>
              <a:t> обеспечивает </a:t>
            </a:r>
            <a:r>
              <a:rPr lang="ru-RU" dirty="0">
                <a:solidFill>
                  <a:srgbClr val="181818"/>
                </a:solidFill>
                <a:ea typeface="HeliosExtraCompressed"/>
                <a:cs typeface="Calibri" panose="020F0502020204030204" pitchFamily="34" charset="0"/>
              </a:rPr>
              <a:t>с</a:t>
            </a:r>
            <a:r>
              <a:rPr lang="ru-RU" dirty="0" smtClean="0">
                <a:solidFill>
                  <a:srgbClr val="181818"/>
                </a:solidFill>
                <a:ea typeface="HeliosExtraCompressed"/>
                <a:cs typeface="Calibri" panose="020F0502020204030204" pitchFamily="34" charset="0"/>
              </a:rPr>
              <a:t>амые высокие образовательные результаты</a:t>
            </a:r>
            <a:r>
              <a:rPr lang="ru-RU" baseline="30000" dirty="0">
                <a:solidFill>
                  <a:srgbClr val="181818"/>
                </a:solidFill>
                <a:ea typeface="HeliosExtraCompressed"/>
                <a:cs typeface="Calibri" panose="020F0502020204030204" pitchFamily="34" charset="0"/>
              </a:rPr>
              <a:t>1</a:t>
            </a:r>
            <a:r>
              <a:rPr lang="ru-RU" baseline="30000" dirty="0" smtClean="0">
                <a:solidFill>
                  <a:srgbClr val="181818"/>
                </a:solidFill>
                <a:ea typeface="HeliosExtraCompressed"/>
                <a:cs typeface="Calibri" panose="020F0502020204030204" pitchFamily="34" charset="0"/>
              </a:rPr>
              <a:t> </a:t>
            </a:r>
            <a:r>
              <a:rPr lang="ru-RU" dirty="0" smtClean="0">
                <a:solidFill>
                  <a:srgbClr val="181818"/>
                </a:solidFill>
                <a:ea typeface="HeliosExtraCompressed"/>
                <a:cs typeface="Calibri" panose="020F0502020204030204" pitchFamily="34" charset="0"/>
              </a:rPr>
              <a:t> </a:t>
            </a:r>
            <a:endParaRPr lang="ru-RU" dirty="0">
              <a:solidFill>
                <a:srgbClr val="181818"/>
              </a:solidFill>
              <a:ea typeface="HeliosExtraCompressed"/>
              <a:cs typeface="Calibri" panose="020F0502020204030204" pitchFamily="34" charset="0"/>
            </a:endParaRPr>
          </a:p>
        </p:txBody>
      </p:sp>
      <p:grpSp>
        <p:nvGrpSpPr>
          <p:cNvPr id="47" name="Group 734"/>
          <p:cNvGrpSpPr/>
          <p:nvPr/>
        </p:nvGrpSpPr>
        <p:grpSpPr>
          <a:xfrm>
            <a:off x="3657699" y="2225123"/>
            <a:ext cx="415076" cy="584775"/>
            <a:chOff x="6489700" y="3957638"/>
            <a:chExt cx="452438" cy="661988"/>
          </a:xfrm>
          <a:solidFill>
            <a:srgbClr val="2D3494"/>
          </a:solidFill>
        </p:grpSpPr>
        <p:sp>
          <p:nvSpPr>
            <p:cNvPr id="48" name="Freeform 183"/>
            <p:cNvSpPr>
              <a:spLocks noEditPoints="1"/>
            </p:cNvSpPr>
            <p:nvPr/>
          </p:nvSpPr>
          <p:spPr bwMode="auto">
            <a:xfrm>
              <a:off x="6551613" y="4233863"/>
              <a:ext cx="330200" cy="330200"/>
            </a:xfrm>
            <a:custGeom>
              <a:avLst/>
              <a:gdLst/>
              <a:ahLst/>
              <a:cxnLst>
                <a:cxn ang="0">
                  <a:pos x="114" y="207"/>
                </a:cxn>
                <a:cxn ang="0">
                  <a:pos x="144" y="200"/>
                </a:cxn>
                <a:cxn ang="0">
                  <a:pos x="170" y="184"/>
                </a:cxn>
                <a:cxn ang="0">
                  <a:pos x="189" y="163"/>
                </a:cxn>
                <a:cxn ang="0">
                  <a:pos x="203" y="136"/>
                </a:cxn>
                <a:cxn ang="0">
                  <a:pos x="208" y="105"/>
                </a:cxn>
                <a:cxn ang="0">
                  <a:pos x="205" y="84"/>
                </a:cxn>
                <a:cxn ang="0">
                  <a:pos x="195" y="54"/>
                </a:cxn>
                <a:cxn ang="0">
                  <a:pos x="177" y="31"/>
                </a:cxn>
                <a:cxn ang="0">
                  <a:pos x="153" y="13"/>
                </a:cxn>
                <a:cxn ang="0">
                  <a:pos x="125" y="2"/>
                </a:cxn>
                <a:cxn ang="0">
                  <a:pos x="104" y="0"/>
                </a:cxn>
                <a:cxn ang="0">
                  <a:pos x="73" y="5"/>
                </a:cxn>
                <a:cxn ang="0">
                  <a:pos x="46" y="18"/>
                </a:cxn>
                <a:cxn ang="0">
                  <a:pos x="24" y="38"/>
                </a:cxn>
                <a:cxn ang="0">
                  <a:pos x="8" y="64"/>
                </a:cxn>
                <a:cxn ang="0">
                  <a:pos x="0" y="94"/>
                </a:cxn>
                <a:cxn ang="0">
                  <a:pos x="0" y="115"/>
                </a:cxn>
                <a:cxn ang="0">
                  <a:pos x="8" y="144"/>
                </a:cxn>
                <a:cxn ang="0">
                  <a:pos x="24" y="170"/>
                </a:cxn>
                <a:cxn ang="0">
                  <a:pos x="46" y="190"/>
                </a:cxn>
                <a:cxn ang="0">
                  <a:pos x="73" y="203"/>
                </a:cxn>
                <a:cxn ang="0">
                  <a:pos x="104" y="208"/>
                </a:cxn>
                <a:cxn ang="0">
                  <a:pos x="104" y="13"/>
                </a:cxn>
                <a:cxn ang="0">
                  <a:pos x="131" y="17"/>
                </a:cxn>
                <a:cxn ang="0">
                  <a:pos x="155" y="28"/>
                </a:cxn>
                <a:cxn ang="0">
                  <a:pos x="174" y="47"/>
                </a:cxn>
                <a:cxn ang="0">
                  <a:pos x="188" y="69"/>
                </a:cxn>
                <a:cxn ang="0">
                  <a:pos x="194" y="95"/>
                </a:cxn>
                <a:cxn ang="0">
                  <a:pos x="194" y="113"/>
                </a:cxn>
                <a:cxn ang="0">
                  <a:pos x="188" y="139"/>
                </a:cxn>
                <a:cxn ang="0">
                  <a:pos x="174" y="161"/>
                </a:cxn>
                <a:cxn ang="0">
                  <a:pos x="155" y="180"/>
                </a:cxn>
                <a:cxn ang="0">
                  <a:pos x="131" y="191"/>
                </a:cxn>
                <a:cxn ang="0">
                  <a:pos x="104" y="195"/>
                </a:cxn>
                <a:cxn ang="0">
                  <a:pos x="86" y="194"/>
                </a:cxn>
                <a:cxn ang="0">
                  <a:pos x="61" y="184"/>
                </a:cxn>
                <a:cxn ang="0">
                  <a:pos x="39" y="169"/>
                </a:cxn>
                <a:cxn ang="0">
                  <a:pos x="24" y="148"/>
                </a:cxn>
                <a:cxn ang="0">
                  <a:pos x="14" y="122"/>
                </a:cxn>
                <a:cxn ang="0">
                  <a:pos x="13" y="105"/>
                </a:cxn>
                <a:cxn ang="0">
                  <a:pos x="16" y="78"/>
                </a:cxn>
                <a:cxn ang="0">
                  <a:pos x="28" y="53"/>
                </a:cxn>
                <a:cxn ang="0">
                  <a:pos x="46" y="34"/>
                </a:cxn>
                <a:cxn ang="0">
                  <a:pos x="68" y="20"/>
                </a:cxn>
                <a:cxn ang="0">
                  <a:pos x="94" y="13"/>
                </a:cxn>
              </a:cxnLst>
              <a:rect l="0" t="0" r="r" b="b"/>
              <a:pathLst>
                <a:path w="208" h="208">
                  <a:moveTo>
                    <a:pt x="104" y="208"/>
                  </a:moveTo>
                  <a:lnTo>
                    <a:pt x="104" y="208"/>
                  </a:lnTo>
                  <a:lnTo>
                    <a:pt x="114" y="207"/>
                  </a:lnTo>
                  <a:lnTo>
                    <a:pt x="125" y="206"/>
                  </a:lnTo>
                  <a:lnTo>
                    <a:pt x="135" y="203"/>
                  </a:lnTo>
                  <a:lnTo>
                    <a:pt x="144" y="200"/>
                  </a:lnTo>
                  <a:lnTo>
                    <a:pt x="153" y="196"/>
                  </a:lnTo>
                  <a:lnTo>
                    <a:pt x="162" y="190"/>
                  </a:lnTo>
                  <a:lnTo>
                    <a:pt x="170" y="184"/>
                  </a:lnTo>
                  <a:lnTo>
                    <a:pt x="177" y="177"/>
                  </a:lnTo>
                  <a:lnTo>
                    <a:pt x="184" y="170"/>
                  </a:lnTo>
                  <a:lnTo>
                    <a:pt x="189" y="163"/>
                  </a:lnTo>
                  <a:lnTo>
                    <a:pt x="195" y="154"/>
                  </a:lnTo>
                  <a:lnTo>
                    <a:pt x="199" y="144"/>
                  </a:lnTo>
                  <a:lnTo>
                    <a:pt x="203" y="136"/>
                  </a:lnTo>
                  <a:lnTo>
                    <a:pt x="205" y="124"/>
                  </a:lnTo>
                  <a:lnTo>
                    <a:pt x="207" y="115"/>
                  </a:lnTo>
                  <a:lnTo>
                    <a:pt x="208" y="105"/>
                  </a:lnTo>
                  <a:lnTo>
                    <a:pt x="208" y="105"/>
                  </a:lnTo>
                  <a:lnTo>
                    <a:pt x="207" y="94"/>
                  </a:lnTo>
                  <a:lnTo>
                    <a:pt x="205" y="84"/>
                  </a:lnTo>
                  <a:lnTo>
                    <a:pt x="203" y="74"/>
                  </a:lnTo>
                  <a:lnTo>
                    <a:pt x="199" y="64"/>
                  </a:lnTo>
                  <a:lnTo>
                    <a:pt x="195" y="54"/>
                  </a:lnTo>
                  <a:lnTo>
                    <a:pt x="189" y="47"/>
                  </a:lnTo>
                  <a:lnTo>
                    <a:pt x="184" y="38"/>
                  </a:lnTo>
                  <a:lnTo>
                    <a:pt x="177" y="31"/>
                  </a:lnTo>
                  <a:lnTo>
                    <a:pt x="170" y="24"/>
                  </a:lnTo>
                  <a:lnTo>
                    <a:pt x="162" y="18"/>
                  </a:lnTo>
                  <a:lnTo>
                    <a:pt x="153" y="13"/>
                  </a:lnTo>
                  <a:lnTo>
                    <a:pt x="144" y="8"/>
                  </a:lnTo>
                  <a:lnTo>
                    <a:pt x="135" y="5"/>
                  </a:lnTo>
                  <a:lnTo>
                    <a:pt x="125" y="2"/>
                  </a:lnTo>
                  <a:lnTo>
                    <a:pt x="114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93" y="1"/>
                  </a:lnTo>
                  <a:lnTo>
                    <a:pt x="83" y="2"/>
                  </a:lnTo>
                  <a:lnTo>
                    <a:pt x="73" y="5"/>
                  </a:lnTo>
                  <a:lnTo>
                    <a:pt x="63" y="8"/>
                  </a:lnTo>
                  <a:lnTo>
                    <a:pt x="55" y="13"/>
                  </a:lnTo>
                  <a:lnTo>
                    <a:pt x="46" y="18"/>
                  </a:lnTo>
                  <a:lnTo>
                    <a:pt x="37" y="24"/>
                  </a:lnTo>
                  <a:lnTo>
                    <a:pt x="30" y="31"/>
                  </a:lnTo>
                  <a:lnTo>
                    <a:pt x="24" y="38"/>
                  </a:lnTo>
                  <a:lnTo>
                    <a:pt x="18" y="47"/>
                  </a:lnTo>
                  <a:lnTo>
                    <a:pt x="13" y="54"/>
                  </a:lnTo>
                  <a:lnTo>
                    <a:pt x="8" y="64"/>
                  </a:lnTo>
                  <a:lnTo>
                    <a:pt x="4" y="74"/>
                  </a:lnTo>
                  <a:lnTo>
                    <a:pt x="2" y="84"/>
                  </a:lnTo>
                  <a:lnTo>
                    <a:pt x="0" y="94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0" y="115"/>
                  </a:lnTo>
                  <a:lnTo>
                    <a:pt x="2" y="124"/>
                  </a:lnTo>
                  <a:lnTo>
                    <a:pt x="4" y="136"/>
                  </a:lnTo>
                  <a:lnTo>
                    <a:pt x="8" y="144"/>
                  </a:lnTo>
                  <a:lnTo>
                    <a:pt x="13" y="154"/>
                  </a:lnTo>
                  <a:lnTo>
                    <a:pt x="18" y="163"/>
                  </a:lnTo>
                  <a:lnTo>
                    <a:pt x="24" y="170"/>
                  </a:lnTo>
                  <a:lnTo>
                    <a:pt x="30" y="177"/>
                  </a:lnTo>
                  <a:lnTo>
                    <a:pt x="37" y="184"/>
                  </a:lnTo>
                  <a:lnTo>
                    <a:pt x="46" y="190"/>
                  </a:lnTo>
                  <a:lnTo>
                    <a:pt x="55" y="196"/>
                  </a:lnTo>
                  <a:lnTo>
                    <a:pt x="63" y="200"/>
                  </a:lnTo>
                  <a:lnTo>
                    <a:pt x="73" y="203"/>
                  </a:lnTo>
                  <a:lnTo>
                    <a:pt x="83" y="206"/>
                  </a:lnTo>
                  <a:lnTo>
                    <a:pt x="93" y="207"/>
                  </a:lnTo>
                  <a:lnTo>
                    <a:pt x="104" y="208"/>
                  </a:lnTo>
                  <a:lnTo>
                    <a:pt x="104" y="208"/>
                  </a:lnTo>
                  <a:close/>
                  <a:moveTo>
                    <a:pt x="104" y="13"/>
                  </a:moveTo>
                  <a:lnTo>
                    <a:pt x="104" y="13"/>
                  </a:lnTo>
                  <a:lnTo>
                    <a:pt x="113" y="13"/>
                  </a:lnTo>
                  <a:lnTo>
                    <a:pt x="123" y="15"/>
                  </a:lnTo>
                  <a:lnTo>
                    <a:pt x="131" y="17"/>
                  </a:lnTo>
                  <a:lnTo>
                    <a:pt x="139" y="20"/>
                  </a:lnTo>
                  <a:lnTo>
                    <a:pt x="147" y="24"/>
                  </a:lnTo>
                  <a:lnTo>
                    <a:pt x="155" y="28"/>
                  </a:lnTo>
                  <a:lnTo>
                    <a:pt x="162" y="34"/>
                  </a:lnTo>
                  <a:lnTo>
                    <a:pt x="168" y="39"/>
                  </a:lnTo>
                  <a:lnTo>
                    <a:pt x="174" y="47"/>
                  </a:lnTo>
                  <a:lnTo>
                    <a:pt x="179" y="53"/>
                  </a:lnTo>
                  <a:lnTo>
                    <a:pt x="184" y="60"/>
                  </a:lnTo>
                  <a:lnTo>
                    <a:pt x="188" y="69"/>
                  </a:lnTo>
                  <a:lnTo>
                    <a:pt x="190" y="78"/>
                  </a:lnTo>
                  <a:lnTo>
                    <a:pt x="193" y="86"/>
                  </a:lnTo>
                  <a:lnTo>
                    <a:pt x="194" y="95"/>
                  </a:lnTo>
                  <a:lnTo>
                    <a:pt x="195" y="105"/>
                  </a:lnTo>
                  <a:lnTo>
                    <a:pt x="195" y="105"/>
                  </a:lnTo>
                  <a:lnTo>
                    <a:pt x="194" y="113"/>
                  </a:lnTo>
                  <a:lnTo>
                    <a:pt x="193" y="122"/>
                  </a:lnTo>
                  <a:lnTo>
                    <a:pt x="190" y="131"/>
                  </a:lnTo>
                  <a:lnTo>
                    <a:pt x="188" y="139"/>
                  </a:lnTo>
                  <a:lnTo>
                    <a:pt x="184" y="148"/>
                  </a:lnTo>
                  <a:lnTo>
                    <a:pt x="179" y="155"/>
                  </a:lnTo>
                  <a:lnTo>
                    <a:pt x="174" y="161"/>
                  </a:lnTo>
                  <a:lnTo>
                    <a:pt x="168" y="169"/>
                  </a:lnTo>
                  <a:lnTo>
                    <a:pt x="162" y="175"/>
                  </a:lnTo>
                  <a:lnTo>
                    <a:pt x="155" y="180"/>
                  </a:lnTo>
                  <a:lnTo>
                    <a:pt x="147" y="184"/>
                  </a:lnTo>
                  <a:lnTo>
                    <a:pt x="139" y="189"/>
                  </a:lnTo>
                  <a:lnTo>
                    <a:pt x="131" y="191"/>
                  </a:lnTo>
                  <a:lnTo>
                    <a:pt x="123" y="194"/>
                  </a:lnTo>
                  <a:lnTo>
                    <a:pt x="113" y="195"/>
                  </a:lnTo>
                  <a:lnTo>
                    <a:pt x="104" y="195"/>
                  </a:lnTo>
                  <a:lnTo>
                    <a:pt x="104" y="195"/>
                  </a:lnTo>
                  <a:lnTo>
                    <a:pt x="94" y="195"/>
                  </a:lnTo>
                  <a:lnTo>
                    <a:pt x="86" y="194"/>
                  </a:lnTo>
                  <a:lnTo>
                    <a:pt x="77" y="191"/>
                  </a:lnTo>
                  <a:lnTo>
                    <a:pt x="68" y="189"/>
                  </a:lnTo>
                  <a:lnTo>
                    <a:pt x="61" y="184"/>
                  </a:lnTo>
                  <a:lnTo>
                    <a:pt x="52" y="180"/>
                  </a:lnTo>
                  <a:lnTo>
                    <a:pt x="46" y="175"/>
                  </a:lnTo>
                  <a:lnTo>
                    <a:pt x="39" y="169"/>
                  </a:lnTo>
                  <a:lnTo>
                    <a:pt x="34" y="161"/>
                  </a:lnTo>
                  <a:lnTo>
                    <a:pt x="28" y="155"/>
                  </a:lnTo>
                  <a:lnTo>
                    <a:pt x="24" y="148"/>
                  </a:lnTo>
                  <a:lnTo>
                    <a:pt x="20" y="139"/>
                  </a:lnTo>
                  <a:lnTo>
                    <a:pt x="16" y="131"/>
                  </a:lnTo>
                  <a:lnTo>
                    <a:pt x="14" y="122"/>
                  </a:lnTo>
                  <a:lnTo>
                    <a:pt x="13" y="113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95"/>
                  </a:lnTo>
                  <a:lnTo>
                    <a:pt x="14" y="86"/>
                  </a:lnTo>
                  <a:lnTo>
                    <a:pt x="16" y="78"/>
                  </a:lnTo>
                  <a:lnTo>
                    <a:pt x="20" y="69"/>
                  </a:lnTo>
                  <a:lnTo>
                    <a:pt x="24" y="60"/>
                  </a:lnTo>
                  <a:lnTo>
                    <a:pt x="28" y="53"/>
                  </a:lnTo>
                  <a:lnTo>
                    <a:pt x="34" y="47"/>
                  </a:lnTo>
                  <a:lnTo>
                    <a:pt x="39" y="39"/>
                  </a:lnTo>
                  <a:lnTo>
                    <a:pt x="46" y="34"/>
                  </a:lnTo>
                  <a:lnTo>
                    <a:pt x="52" y="28"/>
                  </a:lnTo>
                  <a:lnTo>
                    <a:pt x="61" y="24"/>
                  </a:lnTo>
                  <a:lnTo>
                    <a:pt x="68" y="20"/>
                  </a:lnTo>
                  <a:lnTo>
                    <a:pt x="77" y="17"/>
                  </a:lnTo>
                  <a:lnTo>
                    <a:pt x="86" y="15"/>
                  </a:lnTo>
                  <a:lnTo>
                    <a:pt x="94" y="13"/>
                  </a:lnTo>
                  <a:lnTo>
                    <a:pt x="104" y="13"/>
                  </a:lnTo>
                  <a:lnTo>
                    <a:pt x="104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2250">
                <a:solidFill>
                  <a:srgbClr val="377461"/>
                </a:solidFill>
              </a:endParaRPr>
            </a:p>
          </p:txBody>
        </p:sp>
        <p:sp>
          <p:nvSpPr>
            <p:cNvPr id="64" name="Freeform 184"/>
            <p:cNvSpPr>
              <a:spLocks/>
            </p:cNvSpPr>
            <p:nvPr/>
          </p:nvSpPr>
          <p:spPr bwMode="auto">
            <a:xfrm>
              <a:off x="6642100" y="4292600"/>
              <a:ext cx="147638" cy="196850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27" y="27"/>
                </a:cxn>
                <a:cxn ang="0">
                  <a:pos x="30" y="28"/>
                </a:cxn>
                <a:cxn ang="0">
                  <a:pos x="30" y="33"/>
                </a:cxn>
                <a:cxn ang="0">
                  <a:pos x="30" y="96"/>
                </a:cxn>
                <a:cxn ang="0">
                  <a:pos x="27" y="107"/>
                </a:cxn>
                <a:cxn ang="0">
                  <a:pos x="26" y="108"/>
                </a:cxn>
                <a:cxn ang="0">
                  <a:pos x="17" y="110"/>
                </a:cxn>
                <a:cxn ang="0">
                  <a:pos x="10" y="111"/>
                </a:cxn>
                <a:cxn ang="0">
                  <a:pos x="5" y="112"/>
                </a:cxn>
                <a:cxn ang="0">
                  <a:pos x="1" y="115"/>
                </a:cxn>
                <a:cxn ang="0">
                  <a:pos x="1" y="117"/>
                </a:cxn>
                <a:cxn ang="0">
                  <a:pos x="1" y="120"/>
                </a:cxn>
                <a:cxn ang="0">
                  <a:pos x="6" y="123"/>
                </a:cxn>
                <a:cxn ang="0">
                  <a:pos x="85" y="124"/>
                </a:cxn>
                <a:cxn ang="0">
                  <a:pos x="89" y="123"/>
                </a:cxn>
                <a:cxn ang="0">
                  <a:pos x="93" y="120"/>
                </a:cxn>
                <a:cxn ang="0">
                  <a:pos x="93" y="116"/>
                </a:cxn>
                <a:cxn ang="0">
                  <a:pos x="92" y="113"/>
                </a:cxn>
                <a:cxn ang="0">
                  <a:pos x="90" y="112"/>
                </a:cxn>
                <a:cxn ang="0">
                  <a:pos x="85" y="111"/>
                </a:cxn>
                <a:cxn ang="0">
                  <a:pos x="80" y="111"/>
                </a:cxn>
                <a:cxn ang="0">
                  <a:pos x="69" y="108"/>
                </a:cxn>
                <a:cxn ang="0">
                  <a:pos x="67" y="107"/>
                </a:cxn>
                <a:cxn ang="0">
                  <a:pos x="64" y="97"/>
                </a:cxn>
                <a:cxn ang="0">
                  <a:pos x="64" y="6"/>
                </a:cxn>
                <a:cxn ang="0">
                  <a:pos x="63" y="2"/>
                </a:cxn>
                <a:cxn ang="0">
                  <a:pos x="59" y="0"/>
                </a:cxn>
                <a:cxn ang="0">
                  <a:pos x="54" y="0"/>
                </a:cxn>
                <a:cxn ang="0">
                  <a:pos x="51" y="2"/>
                </a:cxn>
                <a:cxn ang="0">
                  <a:pos x="30" y="8"/>
                </a:cxn>
                <a:cxn ang="0">
                  <a:pos x="16" y="11"/>
                </a:cxn>
                <a:cxn ang="0">
                  <a:pos x="6" y="11"/>
                </a:cxn>
                <a:cxn ang="0">
                  <a:pos x="4" y="12"/>
                </a:cxn>
                <a:cxn ang="0">
                  <a:pos x="1" y="16"/>
                </a:cxn>
                <a:cxn ang="0">
                  <a:pos x="0" y="18"/>
                </a:cxn>
                <a:cxn ang="0">
                  <a:pos x="3" y="23"/>
                </a:cxn>
                <a:cxn ang="0">
                  <a:pos x="8" y="24"/>
                </a:cxn>
              </a:cxnLst>
              <a:rect l="0" t="0" r="r" b="b"/>
              <a:pathLst>
                <a:path w="93" h="124">
                  <a:moveTo>
                    <a:pt x="8" y="24"/>
                  </a:moveTo>
                  <a:lnTo>
                    <a:pt x="8" y="24"/>
                  </a:lnTo>
                  <a:lnTo>
                    <a:pt x="22" y="26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30" y="28"/>
                  </a:lnTo>
                  <a:lnTo>
                    <a:pt x="30" y="31"/>
                  </a:lnTo>
                  <a:lnTo>
                    <a:pt x="30" y="33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6" y="108"/>
                  </a:lnTo>
                  <a:lnTo>
                    <a:pt x="22" y="110"/>
                  </a:lnTo>
                  <a:lnTo>
                    <a:pt x="17" y="110"/>
                  </a:lnTo>
                  <a:lnTo>
                    <a:pt x="11" y="111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5" y="112"/>
                  </a:lnTo>
                  <a:lnTo>
                    <a:pt x="5" y="112"/>
                  </a:lnTo>
                  <a:lnTo>
                    <a:pt x="1" y="115"/>
                  </a:lnTo>
                  <a:lnTo>
                    <a:pt x="1" y="116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1" y="120"/>
                  </a:lnTo>
                  <a:lnTo>
                    <a:pt x="3" y="122"/>
                  </a:lnTo>
                  <a:lnTo>
                    <a:pt x="6" y="123"/>
                  </a:lnTo>
                  <a:lnTo>
                    <a:pt x="11" y="124"/>
                  </a:lnTo>
                  <a:lnTo>
                    <a:pt x="85" y="124"/>
                  </a:lnTo>
                  <a:lnTo>
                    <a:pt x="85" y="124"/>
                  </a:lnTo>
                  <a:lnTo>
                    <a:pt x="89" y="123"/>
                  </a:lnTo>
                  <a:lnTo>
                    <a:pt x="92" y="122"/>
                  </a:lnTo>
                  <a:lnTo>
                    <a:pt x="93" y="120"/>
                  </a:lnTo>
                  <a:lnTo>
                    <a:pt x="93" y="117"/>
                  </a:lnTo>
                  <a:lnTo>
                    <a:pt x="93" y="116"/>
                  </a:lnTo>
                  <a:lnTo>
                    <a:pt x="93" y="116"/>
                  </a:lnTo>
                  <a:lnTo>
                    <a:pt x="92" y="113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88" y="111"/>
                  </a:lnTo>
                  <a:lnTo>
                    <a:pt x="85" y="111"/>
                  </a:lnTo>
                  <a:lnTo>
                    <a:pt x="80" y="111"/>
                  </a:lnTo>
                  <a:lnTo>
                    <a:pt x="80" y="111"/>
                  </a:lnTo>
                  <a:lnTo>
                    <a:pt x="73" y="110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7" y="107"/>
                  </a:lnTo>
                  <a:lnTo>
                    <a:pt x="66" y="105"/>
                  </a:lnTo>
                  <a:lnTo>
                    <a:pt x="64" y="97"/>
                  </a:lnTo>
                  <a:lnTo>
                    <a:pt x="64" y="10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3" y="2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45" y="5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4" y="12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5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2250">
                <a:solidFill>
                  <a:srgbClr val="377461"/>
                </a:solidFill>
              </a:endParaRPr>
            </a:p>
          </p:txBody>
        </p:sp>
        <p:sp>
          <p:nvSpPr>
            <p:cNvPr id="65" name="Freeform 185"/>
            <p:cNvSpPr>
              <a:spLocks noEditPoints="1"/>
            </p:cNvSpPr>
            <p:nvPr/>
          </p:nvSpPr>
          <p:spPr bwMode="auto">
            <a:xfrm>
              <a:off x="6489700" y="3957638"/>
              <a:ext cx="452438" cy="661988"/>
            </a:xfrm>
            <a:custGeom>
              <a:avLst/>
              <a:gdLst/>
              <a:ahLst/>
              <a:cxnLst>
                <a:cxn ang="0">
                  <a:pos x="65" y="163"/>
                </a:cxn>
                <a:cxn ang="0">
                  <a:pos x="30" y="197"/>
                </a:cxn>
                <a:cxn ang="0">
                  <a:pos x="9" y="243"/>
                </a:cxn>
                <a:cxn ang="0">
                  <a:pos x="4" y="279"/>
                </a:cxn>
                <a:cxn ang="0">
                  <a:pos x="10" y="319"/>
                </a:cxn>
                <a:cxn ang="0">
                  <a:pos x="27" y="355"/>
                </a:cxn>
                <a:cxn ang="0">
                  <a:pos x="54" y="385"/>
                </a:cxn>
                <a:cxn ang="0">
                  <a:pos x="89" y="406"/>
                </a:cxn>
                <a:cxn ang="0">
                  <a:pos x="128" y="417"/>
                </a:cxn>
                <a:cxn ang="0">
                  <a:pos x="157" y="417"/>
                </a:cxn>
                <a:cxn ang="0">
                  <a:pos x="197" y="406"/>
                </a:cxn>
                <a:cxn ang="0">
                  <a:pos x="231" y="385"/>
                </a:cxn>
                <a:cxn ang="0">
                  <a:pos x="258" y="355"/>
                </a:cxn>
                <a:cxn ang="0">
                  <a:pos x="275" y="319"/>
                </a:cxn>
                <a:cxn ang="0">
                  <a:pos x="281" y="279"/>
                </a:cxn>
                <a:cxn ang="0">
                  <a:pos x="278" y="243"/>
                </a:cxn>
                <a:cxn ang="0">
                  <a:pos x="255" y="197"/>
                </a:cxn>
                <a:cxn ang="0">
                  <a:pos x="220" y="163"/>
                </a:cxn>
                <a:cxn ang="0">
                  <a:pos x="207" y="116"/>
                </a:cxn>
                <a:cxn ang="0">
                  <a:pos x="253" y="0"/>
                </a:cxn>
                <a:cxn ang="0">
                  <a:pos x="162" y="129"/>
                </a:cxn>
                <a:cxn ang="0">
                  <a:pos x="199" y="150"/>
                </a:cxn>
                <a:cxn ang="0">
                  <a:pos x="158" y="139"/>
                </a:cxn>
                <a:cxn ang="0">
                  <a:pos x="128" y="139"/>
                </a:cxn>
                <a:cxn ang="0">
                  <a:pos x="88" y="150"/>
                </a:cxn>
                <a:cxn ang="0">
                  <a:pos x="160" y="81"/>
                </a:cxn>
                <a:cxn ang="0">
                  <a:pos x="143" y="57"/>
                </a:cxn>
                <a:cxn ang="0">
                  <a:pos x="126" y="81"/>
                </a:cxn>
                <a:cxn ang="0">
                  <a:pos x="0" y="0"/>
                </a:cxn>
                <a:cxn ang="0">
                  <a:pos x="78" y="116"/>
                </a:cxn>
                <a:cxn ang="0">
                  <a:pos x="143" y="165"/>
                </a:cxn>
                <a:cxn ang="0">
                  <a:pos x="165" y="168"/>
                </a:cxn>
                <a:cxn ang="0">
                  <a:pos x="196" y="179"/>
                </a:cxn>
                <a:cxn ang="0">
                  <a:pos x="222" y="198"/>
                </a:cxn>
                <a:cxn ang="0">
                  <a:pos x="242" y="224"/>
                </a:cxn>
                <a:cxn ang="0">
                  <a:pos x="253" y="255"/>
                </a:cxn>
                <a:cxn ang="0">
                  <a:pos x="255" y="279"/>
                </a:cxn>
                <a:cxn ang="0">
                  <a:pos x="250" y="312"/>
                </a:cxn>
                <a:cxn ang="0">
                  <a:pos x="236" y="340"/>
                </a:cxn>
                <a:cxn ang="0">
                  <a:pos x="215" y="365"/>
                </a:cxn>
                <a:cxn ang="0">
                  <a:pos x="186" y="381"/>
                </a:cxn>
                <a:cxn ang="0">
                  <a:pos x="154" y="390"/>
                </a:cxn>
                <a:cxn ang="0">
                  <a:pos x="131" y="390"/>
                </a:cxn>
                <a:cxn ang="0">
                  <a:pos x="99" y="381"/>
                </a:cxn>
                <a:cxn ang="0">
                  <a:pos x="71" y="365"/>
                </a:cxn>
                <a:cxn ang="0">
                  <a:pos x="49" y="340"/>
                </a:cxn>
                <a:cxn ang="0">
                  <a:pos x="36" y="312"/>
                </a:cxn>
                <a:cxn ang="0">
                  <a:pos x="31" y="279"/>
                </a:cxn>
                <a:cxn ang="0">
                  <a:pos x="32" y="255"/>
                </a:cxn>
                <a:cxn ang="0">
                  <a:pos x="44" y="224"/>
                </a:cxn>
                <a:cxn ang="0">
                  <a:pos x="63" y="198"/>
                </a:cxn>
                <a:cxn ang="0">
                  <a:pos x="89" y="179"/>
                </a:cxn>
                <a:cxn ang="0">
                  <a:pos x="120" y="168"/>
                </a:cxn>
                <a:cxn ang="0">
                  <a:pos x="143" y="165"/>
                </a:cxn>
              </a:cxnLst>
              <a:rect l="0" t="0" r="r" b="b"/>
              <a:pathLst>
                <a:path w="285" h="417">
                  <a:moveTo>
                    <a:pt x="76" y="118"/>
                  </a:moveTo>
                  <a:lnTo>
                    <a:pt x="65" y="163"/>
                  </a:lnTo>
                  <a:lnTo>
                    <a:pt x="65" y="163"/>
                  </a:lnTo>
                  <a:lnTo>
                    <a:pt x="52" y="173"/>
                  </a:lnTo>
                  <a:lnTo>
                    <a:pt x="41" y="184"/>
                  </a:lnTo>
                  <a:lnTo>
                    <a:pt x="30" y="197"/>
                  </a:lnTo>
                  <a:lnTo>
                    <a:pt x="21" y="212"/>
                  </a:lnTo>
                  <a:lnTo>
                    <a:pt x="13" y="227"/>
                  </a:lnTo>
                  <a:lnTo>
                    <a:pt x="9" y="243"/>
                  </a:lnTo>
                  <a:lnTo>
                    <a:pt x="5" y="260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5" y="292"/>
                  </a:lnTo>
                  <a:lnTo>
                    <a:pt x="6" y="306"/>
                  </a:lnTo>
                  <a:lnTo>
                    <a:pt x="10" y="319"/>
                  </a:lnTo>
                  <a:lnTo>
                    <a:pt x="15" y="332"/>
                  </a:lnTo>
                  <a:lnTo>
                    <a:pt x="21" y="344"/>
                  </a:lnTo>
                  <a:lnTo>
                    <a:pt x="27" y="355"/>
                  </a:lnTo>
                  <a:lnTo>
                    <a:pt x="36" y="366"/>
                  </a:lnTo>
                  <a:lnTo>
                    <a:pt x="44" y="376"/>
                  </a:lnTo>
                  <a:lnTo>
                    <a:pt x="54" y="385"/>
                  </a:lnTo>
                  <a:lnTo>
                    <a:pt x="65" y="393"/>
                  </a:lnTo>
                  <a:lnTo>
                    <a:pt x="76" y="401"/>
                  </a:lnTo>
                  <a:lnTo>
                    <a:pt x="89" y="406"/>
                  </a:lnTo>
                  <a:lnTo>
                    <a:pt x="101" y="411"/>
                  </a:lnTo>
                  <a:lnTo>
                    <a:pt x="115" y="414"/>
                  </a:lnTo>
                  <a:lnTo>
                    <a:pt x="128" y="417"/>
                  </a:lnTo>
                  <a:lnTo>
                    <a:pt x="143" y="417"/>
                  </a:lnTo>
                  <a:lnTo>
                    <a:pt x="143" y="417"/>
                  </a:lnTo>
                  <a:lnTo>
                    <a:pt x="157" y="417"/>
                  </a:lnTo>
                  <a:lnTo>
                    <a:pt x="170" y="414"/>
                  </a:lnTo>
                  <a:lnTo>
                    <a:pt x="184" y="411"/>
                  </a:lnTo>
                  <a:lnTo>
                    <a:pt x="197" y="406"/>
                  </a:lnTo>
                  <a:lnTo>
                    <a:pt x="209" y="401"/>
                  </a:lnTo>
                  <a:lnTo>
                    <a:pt x="221" y="393"/>
                  </a:lnTo>
                  <a:lnTo>
                    <a:pt x="231" y="385"/>
                  </a:lnTo>
                  <a:lnTo>
                    <a:pt x="241" y="376"/>
                  </a:lnTo>
                  <a:lnTo>
                    <a:pt x="250" y="366"/>
                  </a:lnTo>
                  <a:lnTo>
                    <a:pt x="258" y="355"/>
                  </a:lnTo>
                  <a:lnTo>
                    <a:pt x="265" y="344"/>
                  </a:lnTo>
                  <a:lnTo>
                    <a:pt x="270" y="332"/>
                  </a:lnTo>
                  <a:lnTo>
                    <a:pt x="275" y="319"/>
                  </a:lnTo>
                  <a:lnTo>
                    <a:pt x="279" y="306"/>
                  </a:lnTo>
                  <a:lnTo>
                    <a:pt x="281" y="292"/>
                  </a:lnTo>
                  <a:lnTo>
                    <a:pt x="281" y="279"/>
                  </a:lnTo>
                  <a:lnTo>
                    <a:pt x="281" y="279"/>
                  </a:lnTo>
                  <a:lnTo>
                    <a:pt x="280" y="260"/>
                  </a:lnTo>
                  <a:lnTo>
                    <a:pt x="278" y="243"/>
                  </a:lnTo>
                  <a:lnTo>
                    <a:pt x="271" y="227"/>
                  </a:lnTo>
                  <a:lnTo>
                    <a:pt x="265" y="212"/>
                  </a:lnTo>
                  <a:lnTo>
                    <a:pt x="255" y="197"/>
                  </a:lnTo>
                  <a:lnTo>
                    <a:pt x="246" y="184"/>
                  </a:lnTo>
                  <a:lnTo>
                    <a:pt x="233" y="173"/>
                  </a:lnTo>
                  <a:lnTo>
                    <a:pt x="220" y="163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07" y="116"/>
                  </a:lnTo>
                  <a:lnTo>
                    <a:pt x="205" y="113"/>
                  </a:lnTo>
                  <a:lnTo>
                    <a:pt x="285" y="0"/>
                  </a:lnTo>
                  <a:lnTo>
                    <a:pt x="253" y="0"/>
                  </a:lnTo>
                  <a:lnTo>
                    <a:pt x="178" y="106"/>
                  </a:lnTo>
                  <a:lnTo>
                    <a:pt x="174" y="112"/>
                  </a:lnTo>
                  <a:lnTo>
                    <a:pt x="162" y="129"/>
                  </a:lnTo>
                  <a:lnTo>
                    <a:pt x="194" y="129"/>
                  </a:lnTo>
                  <a:lnTo>
                    <a:pt x="199" y="150"/>
                  </a:lnTo>
                  <a:lnTo>
                    <a:pt x="199" y="150"/>
                  </a:lnTo>
                  <a:lnTo>
                    <a:pt x="185" y="145"/>
                  </a:lnTo>
                  <a:lnTo>
                    <a:pt x="171" y="142"/>
                  </a:lnTo>
                  <a:lnTo>
                    <a:pt x="158" y="139"/>
                  </a:lnTo>
                  <a:lnTo>
                    <a:pt x="143" y="139"/>
                  </a:lnTo>
                  <a:lnTo>
                    <a:pt x="143" y="139"/>
                  </a:lnTo>
                  <a:lnTo>
                    <a:pt x="128" y="139"/>
                  </a:lnTo>
                  <a:lnTo>
                    <a:pt x="113" y="142"/>
                  </a:lnTo>
                  <a:lnTo>
                    <a:pt x="100" y="145"/>
                  </a:lnTo>
                  <a:lnTo>
                    <a:pt x="88" y="150"/>
                  </a:lnTo>
                  <a:lnTo>
                    <a:pt x="92" y="129"/>
                  </a:lnTo>
                  <a:lnTo>
                    <a:pt x="126" y="129"/>
                  </a:lnTo>
                  <a:lnTo>
                    <a:pt x="160" y="81"/>
                  </a:lnTo>
                  <a:lnTo>
                    <a:pt x="217" y="0"/>
                  </a:lnTo>
                  <a:lnTo>
                    <a:pt x="183" y="0"/>
                  </a:lnTo>
                  <a:lnTo>
                    <a:pt x="143" y="57"/>
                  </a:lnTo>
                  <a:lnTo>
                    <a:pt x="102" y="0"/>
                  </a:lnTo>
                  <a:lnTo>
                    <a:pt x="69" y="0"/>
                  </a:lnTo>
                  <a:lnTo>
                    <a:pt x="126" y="81"/>
                  </a:lnTo>
                  <a:lnTo>
                    <a:pt x="107" y="106"/>
                  </a:lnTo>
                  <a:lnTo>
                    <a:pt x="33" y="0"/>
                  </a:lnTo>
                  <a:lnTo>
                    <a:pt x="0" y="0"/>
                  </a:lnTo>
                  <a:lnTo>
                    <a:pt x="80" y="113"/>
                  </a:lnTo>
                  <a:lnTo>
                    <a:pt x="80" y="113"/>
                  </a:lnTo>
                  <a:lnTo>
                    <a:pt x="78" y="116"/>
                  </a:lnTo>
                  <a:lnTo>
                    <a:pt x="76" y="118"/>
                  </a:lnTo>
                  <a:lnTo>
                    <a:pt x="76" y="118"/>
                  </a:lnTo>
                  <a:close/>
                  <a:moveTo>
                    <a:pt x="143" y="165"/>
                  </a:moveTo>
                  <a:lnTo>
                    <a:pt x="143" y="165"/>
                  </a:lnTo>
                  <a:lnTo>
                    <a:pt x="154" y="166"/>
                  </a:lnTo>
                  <a:lnTo>
                    <a:pt x="165" y="168"/>
                  </a:lnTo>
                  <a:lnTo>
                    <a:pt x="176" y="171"/>
                  </a:lnTo>
                  <a:lnTo>
                    <a:pt x="186" y="175"/>
                  </a:lnTo>
                  <a:lnTo>
                    <a:pt x="196" y="179"/>
                  </a:lnTo>
                  <a:lnTo>
                    <a:pt x="206" y="185"/>
                  </a:lnTo>
                  <a:lnTo>
                    <a:pt x="215" y="191"/>
                  </a:lnTo>
                  <a:lnTo>
                    <a:pt x="222" y="198"/>
                  </a:lnTo>
                  <a:lnTo>
                    <a:pt x="229" y="207"/>
                  </a:lnTo>
                  <a:lnTo>
                    <a:pt x="236" y="216"/>
                  </a:lnTo>
                  <a:lnTo>
                    <a:pt x="242" y="224"/>
                  </a:lnTo>
                  <a:lnTo>
                    <a:pt x="247" y="234"/>
                  </a:lnTo>
                  <a:lnTo>
                    <a:pt x="250" y="244"/>
                  </a:lnTo>
                  <a:lnTo>
                    <a:pt x="253" y="255"/>
                  </a:lnTo>
                  <a:lnTo>
                    <a:pt x="254" y="266"/>
                  </a:lnTo>
                  <a:lnTo>
                    <a:pt x="255" y="279"/>
                  </a:lnTo>
                  <a:lnTo>
                    <a:pt x="255" y="279"/>
                  </a:lnTo>
                  <a:lnTo>
                    <a:pt x="254" y="290"/>
                  </a:lnTo>
                  <a:lnTo>
                    <a:pt x="253" y="301"/>
                  </a:lnTo>
                  <a:lnTo>
                    <a:pt x="250" y="312"/>
                  </a:lnTo>
                  <a:lnTo>
                    <a:pt x="247" y="322"/>
                  </a:lnTo>
                  <a:lnTo>
                    <a:pt x="242" y="332"/>
                  </a:lnTo>
                  <a:lnTo>
                    <a:pt x="236" y="340"/>
                  </a:lnTo>
                  <a:lnTo>
                    <a:pt x="229" y="349"/>
                  </a:lnTo>
                  <a:lnTo>
                    <a:pt x="222" y="358"/>
                  </a:lnTo>
                  <a:lnTo>
                    <a:pt x="215" y="365"/>
                  </a:lnTo>
                  <a:lnTo>
                    <a:pt x="206" y="371"/>
                  </a:lnTo>
                  <a:lnTo>
                    <a:pt x="196" y="377"/>
                  </a:lnTo>
                  <a:lnTo>
                    <a:pt x="186" y="381"/>
                  </a:lnTo>
                  <a:lnTo>
                    <a:pt x="176" y="385"/>
                  </a:lnTo>
                  <a:lnTo>
                    <a:pt x="165" y="388"/>
                  </a:lnTo>
                  <a:lnTo>
                    <a:pt x="154" y="390"/>
                  </a:lnTo>
                  <a:lnTo>
                    <a:pt x="143" y="391"/>
                  </a:lnTo>
                  <a:lnTo>
                    <a:pt x="143" y="391"/>
                  </a:lnTo>
                  <a:lnTo>
                    <a:pt x="131" y="390"/>
                  </a:lnTo>
                  <a:lnTo>
                    <a:pt x="120" y="388"/>
                  </a:lnTo>
                  <a:lnTo>
                    <a:pt x="110" y="385"/>
                  </a:lnTo>
                  <a:lnTo>
                    <a:pt x="99" y="381"/>
                  </a:lnTo>
                  <a:lnTo>
                    <a:pt x="89" y="377"/>
                  </a:lnTo>
                  <a:lnTo>
                    <a:pt x="80" y="371"/>
                  </a:lnTo>
                  <a:lnTo>
                    <a:pt x="71" y="365"/>
                  </a:lnTo>
                  <a:lnTo>
                    <a:pt x="63" y="358"/>
                  </a:lnTo>
                  <a:lnTo>
                    <a:pt x="55" y="349"/>
                  </a:lnTo>
                  <a:lnTo>
                    <a:pt x="49" y="340"/>
                  </a:lnTo>
                  <a:lnTo>
                    <a:pt x="44" y="332"/>
                  </a:lnTo>
                  <a:lnTo>
                    <a:pt x="39" y="322"/>
                  </a:lnTo>
                  <a:lnTo>
                    <a:pt x="36" y="312"/>
                  </a:lnTo>
                  <a:lnTo>
                    <a:pt x="32" y="301"/>
                  </a:lnTo>
                  <a:lnTo>
                    <a:pt x="31" y="290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66"/>
                  </a:lnTo>
                  <a:lnTo>
                    <a:pt x="32" y="255"/>
                  </a:lnTo>
                  <a:lnTo>
                    <a:pt x="36" y="244"/>
                  </a:lnTo>
                  <a:lnTo>
                    <a:pt x="39" y="234"/>
                  </a:lnTo>
                  <a:lnTo>
                    <a:pt x="44" y="224"/>
                  </a:lnTo>
                  <a:lnTo>
                    <a:pt x="49" y="216"/>
                  </a:lnTo>
                  <a:lnTo>
                    <a:pt x="55" y="207"/>
                  </a:lnTo>
                  <a:lnTo>
                    <a:pt x="63" y="198"/>
                  </a:lnTo>
                  <a:lnTo>
                    <a:pt x="71" y="191"/>
                  </a:lnTo>
                  <a:lnTo>
                    <a:pt x="80" y="185"/>
                  </a:lnTo>
                  <a:lnTo>
                    <a:pt x="89" y="179"/>
                  </a:lnTo>
                  <a:lnTo>
                    <a:pt x="99" y="175"/>
                  </a:lnTo>
                  <a:lnTo>
                    <a:pt x="110" y="171"/>
                  </a:lnTo>
                  <a:lnTo>
                    <a:pt x="120" y="168"/>
                  </a:lnTo>
                  <a:lnTo>
                    <a:pt x="131" y="166"/>
                  </a:lnTo>
                  <a:lnTo>
                    <a:pt x="143" y="165"/>
                  </a:lnTo>
                  <a:lnTo>
                    <a:pt x="143" y="1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2250">
                <a:solidFill>
                  <a:srgbClr val="377461"/>
                </a:solidFill>
              </a:endParaRP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4263955" y="3920473"/>
            <a:ext cx="735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2D3494"/>
                </a:solidFill>
                <a:ea typeface="HeliosExtraCompressed"/>
                <a:cs typeface="Calibri" panose="020F0502020204030204" pitchFamily="34" charset="0"/>
              </a:rPr>
              <a:t>Линия УМК </a:t>
            </a:r>
            <a:r>
              <a:rPr lang="ru-RU" b="1" dirty="0" err="1" smtClean="0">
                <a:solidFill>
                  <a:srgbClr val="2D3494"/>
                </a:solidFill>
                <a:ea typeface="HeliosExtraCompressed"/>
                <a:cs typeface="Calibri" panose="020F0502020204030204" pitchFamily="34" charset="0"/>
              </a:rPr>
              <a:t>Сивоглазова</a:t>
            </a:r>
            <a:r>
              <a:rPr lang="ru-RU" b="1" dirty="0" smtClean="0">
                <a:solidFill>
                  <a:srgbClr val="2D3494"/>
                </a:solidFill>
                <a:ea typeface="HeliosExtraCompressed"/>
                <a:cs typeface="Calibri" panose="020F0502020204030204" pitchFamily="34" charset="0"/>
              </a:rPr>
              <a:t> В.И</a:t>
            </a:r>
            <a:r>
              <a:rPr lang="ru-RU" b="1" dirty="0">
                <a:solidFill>
                  <a:srgbClr val="2D3494"/>
                </a:solidFill>
                <a:ea typeface="HeliosExtraCompressed"/>
                <a:cs typeface="Calibri" panose="020F0502020204030204" pitchFamily="34" charset="0"/>
              </a:rPr>
              <a:t>. – </a:t>
            </a:r>
            <a:r>
              <a:rPr lang="ru-RU" dirty="0" smtClean="0">
                <a:solidFill>
                  <a:srgbClr val="181818"/>
                </a:solidFill>
                <a:ea typeface="HeliosExtraCompressed"/>
                <a:cs typeface="Calibri" panose="020F0502020204030204" pitchFamily="34" charset="0"/>
              </a:rPr>
              <a:t>полный </a:t>
            </a:r>
            <a:r>
              <a:rPr lang="ru-RU" dirty="0">
                <a:solidFill>
                  <a:srgbClr val="181818"/>
                </a:solidFill>
                <a:ea typeface="HeliosExtraCompressed"/>
                <a:cs typeface="Calibri" panose="020F0502020204030204" pitchFamily="34" charset="0"/>
              </a:rPr>
              <a:t>аналог </a:t>
            </a:r>
            <a:r>
              <a:rPr lang="ru-RU" dirty="0" smtClean="0">
                <a:solidFill>
                  <a:srgbClr val="181818"/>
                </a:solidFill>
                <a:ea typeface="HeliosExtraCompressed"/>
                <a:cs typeface="Calibri" panose="020F0502020204030204" pitchFamily="34" charset="0"/>
              </a:rPr>
              <a:t>«красной» линии </a:t>
            </a:r>
            <a:r>
              <a:rPr lang="ru-RU" dirty="0">
                <a:solidFill>
                  <a:srgbClr val="181818"/>
                </a:solidFill>
                <a:ea typeface="HeliosExtraCompressed"/>
                <a:cs typeface="Calibri" panose="020F0502020204030204" pitchFamily="34" charset="0"/>
              </a:rPr>
              <a:t>УМК </a:t>
            </a:r>
            <a:r>
              <a:rPr lang="ru-RU" dirty="0" smtClean="0">
                <a:solidFill>
                  <a:srgbClr val="181818"/>
                </a:solidFill>
                <a:ea typeface="HeliosExtraCompressed"/>
                <a:cs typeface="Calibri" panose="020F0502020204030204" pitchFamily="34" charset="0"/>
              </a:rPr>
              <a:t>Сонина, дополненный расширенным </a:t>
            </a:r>
            <a:r>
              <a:rPr lang="ru-RU" dirty="0" smtClean="0">
                <a:solidFill>
                  <a:srgbClr val="181818"/>
                </a:solidFill>
              </a:rPr>
              <a:t>электронным приложением</a:t>
            </a:r>
            <a:endParaRPr lang="ru-RU" dirty="0">
              <a:solidFill>
                <a:srgbClr val="181818"/>
              </a:solidFill>
              <a:ea typeface="HeliosExtraCompressed"/>
              <a:cs typeface="Calibri" panose="020F0502020204030204" pitchFamily="34" charset="0"/>
            </a:endParaRPr>
          </a:p>
        </p:txBody>
      </p:sp>
      <p:pic>
        <p:nvPicPr>
          <p:cNvPr id="82" name="Picture 5" descr="C:\Users\Gabyash.DE\Desktop\cover1__w600 (11).jpg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329277" y="1948977"/>
            <a:ext cx="720000" cy="954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3" name="Picture 3" descr="C:\Users\Gabyash.DE\Desktop\cover1__w600 (9).jpg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18679" y="2123800"/>
            <a:ext cx="720000" cy="954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4" name="Picture 43" descr="ÐÐ¸Ð¾Ð»Ð¾Ð³Ð¸Ñ. 9 Â ÐºÐ»Ð°ÑÑ. Ð£ÑÐµÐ±Ð½Ð¸Ðº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4787" y="1948977"/>
            <a:ext cx="720000" cy="95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41" descr="ÐÐ¸Ð¾Ð»Ð¾Ð³Ð¸Ñ. 5-6Â ÐºÐ»Ð°ÑÑ. Ð£ÑÐµÐ±Ð½Ð¸Ðº.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837" y="2128534"/>
            <a:ext cx="733847" cy="954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Прямоугольник 89"/>
          <p:cNvSpPr/>
          <p:nvPr/>
        </p:nvSpPr>
        <p:spPr>
          <a:xfrm>
            <a:off x="2200432" y="4845949"/>
            <a:ext cx="1279045" cy="51115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rgbClr val="2D3494"/>
                </a:solidFill>
              </a:rPr>
              <a:t>Линия УМК </a:t>
            </a:r>
          </a:p>
          <a:p>
            <a:r>
              <a:rPr lang="ru-RU" sz="1400" dirty="0" err="1" smtClean="0">
                <a:solidFill>
                  <a:srgbClr val="2D3494"/>
                </a:solidFill>
              </a:rPr>
              <a:t>Сивоглазова</a:t>
            </a:r>
            <a:r>
              <a:rPr lang="ru-RU" sz="1400" dirty="0" smtClean="0">
                <a:solidFill>
                  <a:srgbClr val="2D3494"/>
                </a:solidFill>
              </a:rPr>
              <a:t>  </a:t>
            </a:r>
          </a:p>
          <a:p>
            <a:r>
              <a:rPr lang="ru-RU" sz="1400" dirty="0" smtClean="0">
                <a:solidFill>
                  <a:srgbClr val="2D3494"/>
                </a:solidFill>
              </a:rPr>
              <a:t>(</a:t>
            </a:r>
            <a:r>
              <a:rPr lang="ru-RU" sz="1400" dirty="0">
                <a:solidFill>
                  <a:srgbClr val="2D3494"/>
                </a:solidFill>
              </a:rPr>
              <a:t>5</a:t>
            </a:r>
            <a:r>
              <a:rPr lang="ru-RU" sz="1400" dirty="0" smtClean="0">
                <a:solidFill>
                  <a:srgbClr val="2D3494"/>
                </a:solidFill>
              </a:rPr>
              <a:t>-11 </a:t>
            </a:r>
            <a:r>
              <a:rPr lang="ru-RU" sz="1400" dirty="0" err="1" smtClean="0">
                <a:solidFill>
                  <a:srgbClr val="2D3494"/>
                </a:solidFill>
              </a:rPr>
              <a:t>кл</a:t>
            </a:r>
            <a:r>
              <a:rPr lang="ru-RU" sz="1400" dirty="0" smtClean="0">
                <a:solidFill>
                  <a:srgbClr val="2D3494"/>
                </a:solidFill>
              </a:rPr>
              <a:t>)</a:t>
            </a:r>
            <a:endParaRPr lang="ru-RU" sz="1400" dirty="0">
              <a:solidFill>
                <a:srgbClr val="2D3494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040" y="3980821"/>
            <a:ext cx="540000" cy="543287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465191" y="3484377"/>
            <a:ext cx="749663" cy="99288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2258164" y="3674563"/>
            <a:ext cx="742453" cy="100183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3251203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52" name="Picture 20" descr="ÐÐ¸Ð¾Ð»Ð¾Ð³Ð¸Ñ. 9 Â ÐºÐ»Ð°ÑÑ. Ð£ÑÐµÐ±Ð½Ð¸Ðº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8055" y="1313199"/>
            <a:ext cx="867321" cy="112506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650" name="Picture 18" descr="ÐÐ¸Ð¾Ð»Ð¾Ð³Ð¸Ñ. 8Â ÐºÐ»Ð°ÑÑ. Ð£ÑÐµÐ±Ð½Ð¸Ðº.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663" y="1313199"/>
            <a:ext cx="867321" cy="112506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647" name="Picture 15" descr="ÐÐ¸Ð¾Ð»Ð¾Ð³Ð¸Ñ. 7Â ÐºÐ». Ð£ÑÐµÐ±Ð½Ð¸Ðº.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255" y="1313199"/>
            <a:ext cx="867321" cy="112506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35188384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265511" name="think-cell Slide" r:id="rId8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526945" y="1551727"/>
            <a:ext cx="2340000" cy="64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</a:rPr>
              <a:t>Линия УМК </a:t>
            </a: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</a:rPr>
              <a:t>«Живая природа» Суховой Т.С.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</a:rPr>
              <a:t>(5-9 класс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710952" y="1381627"/>
            <a:ext cx="2829024" cy="9882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Линия УМК </a:t>
            </a:r>
            <a:r>
              <a:rPr lang="ru-RU" sz="14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Пономаревой И. Н. (концентрическая, 5-9 </a:t>
            </a: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класс)</a:t>
            </a:r>
          </a:p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ФП № </a:t>
            </a:r>
            <a:r>
              <a:rPr lang="ru-RU" sz="1400" b="1" dirty="0" smtClean="0">
                <a:latin typeface="Calibri" panose="020F0502020204030204" pitchFamily="34" charset="0"/>
              </a:rPr>
              <a:t>1.2.5.2.3.1</a:t>
            </a:r>
            <a:r>
              <a:rPr lang="ru-RU" sz="14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 </a:t>
            </a: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– </a:t>
            </a:r>
            <a:r>
              <a:rPr lang="ru-RU" sz="1400" b="1" dirty="0" smtClean="0">
                <a:latin typeface="Calibri" panose="020F0502020204030204" pitchFamily="34" charset="0"/>
              </a:rPr>
              <a:t>1.2.5.2.3.5</a:t>
            </a:r>
            <a:endParaRPr lang="ru-RU" sz="1400" b="1" dirty="0">
              <a:solidFill>
                <a:schemeClr val="lt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59187" y="3160132"/>
            <a:ext cx="10304276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 smtClean="0">
                <a:latin typeface="Calibri" panose="020F0502020204030204" pitchFamily="34" charset="0"/>
              </a:rPr>
              <a:t>Обе линии созданы по концентрическому принципу. Пройдя обучение в 5-8 классах по УМК «Живая природа»,  обучающиеся могут закончить изучение концентрического курса биологии в 9 классе  по учебнику «Общие биологические закономерности»  УМК  Пономаревой И.Н., не нарушая логическую концепцию курса, что позволяет в полном объеме выполнить программу изучения биологии основного общего образования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863591" y="6401964"/>
            <a:ext cx="842421" cy="216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endParaRPr lang="ru-RU" sz="1100" dirty="0">
              <a:solidFill>
                <a:schemeClr val="lt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727696" y="6394548"/>
            <a:ext cx="1142383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8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423429" y="6394548"/>
            <a:ext cx="1252072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4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59336" y="6401964"/>
            <a:ext cx="842421" cy="2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9" name="Group 115"/>
          <p:cNvGrpSpPr/>
          <p:nvPr/>
        </p:nvGrpSpPr>
        <p:grpSpPr>
          <a:xfrm>
            <a:off x="5533077" y="1551727"/>
            <a:ext cx="470487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29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30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0" y="5688724"/>
            <a:ext cx="12192000" cy="422146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3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робные методические рекомендации и </a:t>
            </a:r>
            <a:r>
              <a:rPr lang="ru-RU" sz="13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бинары</a:t>
            </a:r>
            <a:r>
              <a:rPr lang="ru-RU" sz="13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см. по ссылке: </a:t>
            </a:r>
            <a:r>
              <a:rPr lang="en-US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suchebnik.ru/fpu345</a:t>
            </a:r>
            <a:r>
              <a:rPr lang="ru-RU" sz="1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1200" dirty="0" err="1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8" name="Picture 25" descr="ÐÐ¸Ð¾Ð»Ð¾Ð³Ð¸Ñ. 9Â ÐºÐ»Ð°ÑÑ. Ð£ÑÐµÐ±Ð½Ð¸Ðº.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7752" y="1315241"/>
            <a:ext cx="863231" cy="112097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3" descr="ÐÐ¸Ð¾Ð»Ð¾Ð³Ð¸Ñ. 8Â ÐºÐ»Ð°ÑÑ. Ð£ÑÐµÐ±Ð½Ð¸Ðº.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4125" y="1315241"/>
            <a:ext cx="863231" cy="112097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1" descr="ÐÐ¸Ð¾Ð»Ð¾Ð³Ð¸Ñ. 7Â ÐºÐ»Ð°ÑÑ. Ð£ÑÐµÐ±Ð½Ð¸Ðº.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424" y="1315241"/>
            <a:ext cx="863231" cy="112097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9" descr="ÐÐ¸Ð¾Ð»Ð¾Ð³Ð¸Ñ. 6Â ÐºÐ». Ð£ÑÐµÐ±Ð½Ð¸Ðº.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6708" y="1315241"/>
            <a:ext cx="863231" cy="112097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7" descr="ÐÐ¸Ð¾Ð»Ð¾Ð³Ð¸Ñ. 5Â ÐºÐ»Ð°ÑÑ. Ð£ÑÐµÐ±Ð½Ð¸Ðº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3066" y="1315241"/>
            <a:ext cx="863231" cy="112097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645" name="Picture 13" descr="ÐÐ¸Ð¾Ð»Ð¾Ð³Ð¸Ñ. 6Â ÐºÐ». Ð£ÑÐµÐ±Ð½Ð¸Ðº.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39" y="1313199"/>
            <a:ext cx="867321" cy="112506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1359187" y="4459352"/>
            <a:ext cx="10304276" cy="6001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 smtClean="0">
                <a:latin typeface="Calibri" pitchFamily="34" charset="0"/>
              </a:rPr>
              <a:t>В учебнике 9 класса УМК Пономаревой И.Н. (глава 3) включены темы, интегрированные с разделами «Ботаника», «Зоология», «Анатомия», что позволяет рассмотреть вопросы общей биологии на конкретных примерах жизнедеятельности бактерий, растений, грибов, лишайников, животных. Данная особенность учебника способствует получению высоких результатов при подготовке обучающихся к ОГЭ.</a:t>
            </a:r>
          </a:p>
        </p:txBody>
      </p:sp>
      <p:sp>
        <p:nvSpPr>
          <p:cNvPr id="22" name="Овал 21"/>
          <p:cNvSpPr/>
          <p:nvPr/>
        </p:nvSpPr>
        <p:spPr>
          <a:xfrm>
            <a:off x="461023" y="3151001"/>
            <a:ext cx="775480" cy="775480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460009" y="4340777"/>
            <a:ext cx="775480" cy="775480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14008" y="3319096"/>
            <a:ext cx="477927" cy="473375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642040" y="4445433"/>
            <a:ext cx="413471" cy="557177"/>
          </a:xfrm>
          <a:prstGeom prst="rect">
            <a:avLst/>
          </a:prstGeom>
        </p:spPr>
      </p:pic>
      <p:sp>
        <p:nvSpPr>
          <p:cNvPr id="36" name="Заголовок 3"/>
          <p:cNvSpPr>
            <a:spLocks noGrp="1"/>
          </p:cNvSpPr>
          <p:nvPr>
            <p:ph type="title"/>
          </p:nvPr>
        </p:nvSpPr>
        <p:spPr>
          <a:xfrm>
            <a:off x="460016" y="124687"/>
            <a:ext cx="10601087" cy="64864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400" dirty="0">
                <a:latin typeface="+mj-lt"/>
              </a:rPr>
              <a:t>РЕКОМЕНДАЦИИ ПО ПЕРЕХОДУ </a:t>
            </a:r>
            <a:r>
              <a:rPr lang="en-US" sz="2400" dirty="0" smtClean="0">
                <a:latin typeface="+mj-lt"/>
              </a:rPr>
              <a:t/>
            </a:r>
            <a:br>
              <a:rPr lang="en-US" sz="2400" dirty="0" smtClean="0">
                <a:latin typeface="+mj-lt"/>
              </a:rPr>
            </a:br>
            <a:r>
              <a:rPr lang="ru-RU" sz="2400" dirty="0" smtClean="0">
                <a:solidFill>
                  <a:srgbClr val="EB2049"/>
                </a:solidFill>
                <a:latin typeface="+mj-lt"/>
              </a:rPr>
              <a:t>БИОЛОГИЯ</a:t>
            </a:r>
            <a:endParaRPr lang="ru-RU" sz="2400" dirty="0">
              <a:solidFill>
                <a:srgbClr val="EB2049"/>
              </a:solidFill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3764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33" name="Picture 25" descr="ÐÐ¸Ð¾Ð»Ð¾Ð³Ð¸Ñ. 9 ÐºÐ»Ð°ÑÑ. Ð§ÐµÐ»Ð¾Ð²ÐµÐº. Ð£ÑÐµÐ±Ð½Ð¸Ðº (Ð¡Ð¸Ð½Ð¸Ð¹). ÐÐÐ Ð¢ÐÐÐÐÐ¬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8641" y="1249410"/>
            <a:ext cx="821035" cy="116313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631" name="Picture 23" descr="ÐÐ¸Ð¾Ð»Ð¾Ð³Ð¸Ñ. 8 ÐºÐ»Ð°ÑÑ. ÐÐ½Ð¾Ð³Ð¾Ð¾Ð±ÑÐ°Ð·Ð¸Ðµ Ð¶Ð¸Ð²ÑÑ Ð¾ÑÐ³Ð°Ð½Ð¸Ð·Ð¼Ð¾Ð². ÐÐ¸Ð²Ð¾ÑÐ½ÑÐµ. Ð£ÑÐµÐ±Ð½Ð¸Ðº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632" y="1249414"/>
            <a:ext cx="825893" cy="116313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629" name="Picture 21" descr="ÐÐ¸Ð¾Ð»Ð¾Ð³Ð¸Ñ. 7 ÐºÐ»Ð°ÑÑ. ÐÐ°ÐºÑÐµÑÐ¸Ð¸, Ð³ÑÐ¸Ð±Ñ, ÑÐ°ÑÑÐµÐ½Ð¸Ñ. Ð£ÑÐµÐ±Ð½Ð¸Ðº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619" y="1249410"/>
            <a:ext cx="825892" cy="116313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627" name="Picture 19" descr="ÐÐ¸Ð¾Ð»Ð¾Ð³Ð¸Ñ. 6 ÐºÐ»Ð°ÑÑ. ÐÐ¸Ð²Ð¾Ð¹ Ð¾ÑÐ³Ð°Ð½Ð¸Ð·Ð¼. Ð£ÑÐµÐ±Ð½Ð¸Ðº (Ð¡Ð¸Ð½Ð¸Ð¹). ÐÐÐ Ð¢ÐÐÐÐÐ¬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08" y="1249414"/>
            <a:ext cx="825893" cy="116313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02861419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264486" name="think-cell Slide" r:id="rId9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930623" y="1506976"/>
            <a:ext cx="2340000" cy="64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</a:rPr>
              <a:t>Линия УМК </a:t>
            </a: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</a:rPr>
              <a:t>Сонина Н.И. (линейная, 5-9 </a:t>
            </a: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</a:rPr>
              <a:t>класс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146408" y="1345191"/>
            <a:ext cx="2622245" cy="971579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Линия УМК </a:t>
            </a:r>
            <a:r>
              <a:rPr lang="ru-RU" sz="14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Пономаревой И. Н. (линейная, 5-9 </a:t>
            </a: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класс)</a:t>
            </a:r>
          </a:p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ФП № </a:t>
            </a:r>
            <a:r>
              <a:rPr lang="ru-RU" sz="1400" b="1" dirty="0" smtClean="0">
                <a:latin typeface="Calibri" panose="020F0502020204030204" pitchFamily="34" charset="0"/>
              </a:rPr>
              <a:t>1.2.5.2.6.1</a:t>
            </a:r>
            <a:r>
              <a:rPr lang="ru-RU" sz="14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 </a:t>
            </a: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– </a:t>
            </a:r>
            <a:r>
              <a:rPr lang="ru-RU" sz="1400" b="1" dirty="0" smtClean="0">
                <a:latin typeface="Calibri" panose="020F0502020204030204" pitchFamily="34" charset="0"/>
              </a:rPr>
              <a:t>1.2.5.2.6.4</a:t>
            </a:r>
            <a:endParaRPr lang="ru-RU" sz="1400" b="1" dirty="0">
              <a:solidFill>
                <a:schemeClr val="lt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35628" y="4320451"/>
            <a:ext cx="10452679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 smtClean="0">
                <a:latin typeface="Calibri" panose="020F0502020204030204" pitchFamily="34" charset="0"/>
              </a:rPr>
              <a:t>В учебники линии Пономаревой И.Н. включены методики выполнения лабораторных и практических работ (в линии УМК Сонина Н.И. лабораторные работы вынесены в отдельное пособие), позволяющие закреплять полученные знания и развивать практические навыки и умения. Практическую направленность и личностно адаптированный развивающий характер содержания учебников линии Пономаревой отражают мотивирующие вопросы в начале параграфов, направленные на актуализацию знаний перед изучением нового материала, дифференцированные задания, в том числе и творческого характера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863591" y="6401964"/>
            <a:ext cx="842421" cy="216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endParaRPr lang="ru-RU" sz="1100" dirty="0">
              <a:solidFill>
                <a:schemeClr val="lt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727696" y="6394548"/>
            <a:ext cx="1142383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8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423429" y="6394548"/>
            <a:ext cx="1252072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4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59336" y="6401964"/>
            <a:ext cx="842421" cy="2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438445" y="2960064"/>
            <a:ext cx="775480" cy="775480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438445" y="4256655"/>
            <a:ext cx="775480" cy="775480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91432" y="3128258"/>
            <a:ext cx="477927" cy="473375"/>
          </a:xfrm>
          <a:prstGeom prst="rect">
            <a:avLst/>
          </a:prstGeom>
        </p:spPr>
      </p:pic>
      <p:grpSp>
        <p:nvGrpSpPr>
          <p:cNvPr id="9" name="Group 115"/>
          <p:cNvGrpSpPr/>
          <p:nvPr/>
        </p:nvGrpSpPr>
        <p:grpSpPr>
          <a:xfrm>
            <a:off x="5743510" y="1515976"/>
            <a:ext cx="470487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29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30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0" y="5688724"/>
            <a:ext cx="12192000" cy="422146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3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робные методические рекомендации и </a:t>
            </a:r>
            <a:r>
              <a:rPr lang="ru-RU" sz="13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бинары</a:t>
            </a:r>
            <a:r>
              <a:rPr lang="ru-RU" sz="13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см. по ссылке: </a:t>
            </a:r>
            <a:r>
              <a:rPr lang="en-US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suchebnik.ru/fpu345</a:t>
            </a:r>
            <a:r>
              <a:rPr lang="ru-RU" sz="1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1200" dirty="0" err="1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423436" y="2960115"/>
            <a:ext cx="10452679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 smtClean="0">
                <a:latin typeface="Calibri" panose="020F0502020204030204" pitchFamily="34" charset="0"/>
              </a:rPr>
              <a:t>Оба УМК представляют  собой линейный курс биологии и имеют схожий методический подход в построении содержания.  Пройдя обучение в 5-8 классах по УМК Сонина В.И. обучающиеся могут закончить изучение курса биологии в 9 классе по учебнику «Человек и его здоровье» по УМК  Пономаревой И.Н., не нарушая логическую концепцию курса,  что позволяет  в полном объеме выполнить программу изучения биологии основного общего образования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81337" y="4390394"/>
            <a:ext cx="508835" cy="540637"/>
          </a:xfrm>
          <a:prstGeom prst="rect">
            <a:avLst/>
          </a:prstGeom>
        </p:spPr>
      </p:pic>
      <p:pic>
        <p:nvPicPr>
          <p:cNvPr id="40" name="Picture 12" descr="ÐÐ¸Ð¾Ð»Ð¾Ð³Ð¸Ñ. 9 ÐºÐ»Ð°ÑÑ. Ð£ÑÐµÐ±Ð½Ð¸Ðº.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5108" y="1248051"/>
            <a:ext cx="896807" cy="116585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4" descr="https://articlerus.ru/wp-content/uploads/pic/ea7e9ee0000014df8002000001ff100a0191001ed9df0020004153d4d0d3c9189a1b53468f286309899301300036b8e6f211920dd2e57c7fc519e013481/b2940699dec756296c9370b39151c2d53817e2ee48a70a121d4fd3dc0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6132" y="1249410"/>
            <a:ext cx="894717" cy="11631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0" descr="ÐÐ¸Ð¾Ð»Ð¾Ð³Ð¸Ñ. 7 ÐºÐ»Ð°ÑÑ. Ð£ÑÐµÐ±Ð½Ð¸Ðº.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5092" y="1248051"/>
            <a:ext cx="896807" cy="116585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8" descr="ÐÐ¸Ð¾Ð»Ð¾Ð³Ð¸Ñ. 5-6Â ÐºÐ»Ð°ÑÑ. Ð£ÑÐµÐ±Ð½Ð¸Ðº.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6085" y="1249385"/>
            <a:ext cx="894755" cy="116318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625" name="Picture 17" descr="ÐÐ¸Ð¾Ð»Ð¾Ð³Ð¸Ñ. ÐÐ²ÐµÐ´ÐµÐ½Ð¸Ðµ Ð² Ð±Ð¸Ð¾Ð»Ð¾Ð³Ð¸Ñ. 5 ÐºÐ»Ð°ÑÑ. (Ð¡Ð¸Ð½Ð¸Ð¹). ÐÐÐ Ð¢ÐÐÐÐÐ¬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598" y="1249410"/>
            <a:ext cx="825892" cy="116313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Заголовок 3"/>
          <p:cNvSpPr>
            <a:spLocks noGrp="1"/>
          </p:cNvSpPr>
          <p:nvPr>
            <p:ph type="title"/>
          </p:nvPr>
        </p:nvSpPr>
        <p:spPr>
          <a:xfrm>
            <a:off x="406596" y="126969"/>
            <a:ext cx="10601087" cy="64864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400" dirty="0">
                <a:latin typeface="+mj-lt"/>
              </a:rPr>
              <a:t>РЕКОМЕНДАЦИИ ПО ПЕРЕХОДУ </a:t>
            </a:r>
            <a:r>
              <a:rPr lang="en-US" sz="2400" dirty="0" smtClean="0">
                <a:latin typeface="+mj-lt"/>
              </a:rPr>
              <a:t/>
            </a:r>
            <a:br>
              <a:rPr lang="en-US" sz="2400" dirty="0" smtClean="0">
                <a:latin typeface="+mj-lt"/>
              </a:rPr>
            </a:br>
            <a:r>
              <a:rPr lang="ru-RU" sz="2400" dirty="0" smtClean="0">
                <a:solidFill>
                  <a:srgbClr val="EB2049"/>
                </a:solidFill>
                <a:latin typeface="+mj-lt"/>
              </a:rPr>
              <a:t>БИОЛОГИЯ</a:t>
            </a:r>
            <a:endParaRPr lang="ru-RU" sz="2400" dirty="0">
              <a:solidFill>
                <a:srgbClr val="EB2049"/>
              </a:solidFill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54698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К корпорации «Российский учебник»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" y="972458"/>
            <a:ext cx="12061371" cy="5724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ание: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а основе научного метода познания </a:t>
            </a:r>
          </a:p>
          <a:p>
            <a:r>
              <a:rPr lang="ru-RU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ческий аппарат: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3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ит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тностные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дания; экспериментальные работы исследовательского типа;  анализ первичных научных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анных;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ует </a:t>
            </a:r>
            <a:r>
              <a:rPr lang="ru-RU" sz="28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ения: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ъяснять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вления; выдвигать и проверять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ипотезы; прогнозировать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бытия; планировать основные этапы исследования; анализировать данные, представленных в разной форме; обосновывать и обсуждать результаты экспериментов; использовать профессиональную терминологию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ует навыки: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мыслового чтения и навыки самостоятельной учебной деятельности</a:t>
            </a:r>
          </a:p>
          <a:p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963002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938478746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26826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0" y="2032987"/>
            <a:ext cx="12192000" cy="2376492"/>
          </a:xfrm>
          <a:prstGeom prst="rect">
            <a:avLst/>
          </a:prstGeom>
          <a:solidFill>
            <a:srgbClr val="D1E7F6"/>
          </a:solidFill>
          <a:ln w="9525">
            <a:solidFill>
              <a:srgbClr val="D1E7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2" name="Подзаголовок 3"/>
          <p:cNvSpPr txBox="1">
            <a:spLocks/>
          </p:cNvSpPr>
          <p:nvPr/>
        </p:nvSpPr>
        <p:spPr>
          <a:xfrm>
            <a:off x="4505405" y="1392816"/>
            <a:ext cx="7686595" cy="2783879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иния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роена в соответствии с классическим изучением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рса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иолог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ольшое количество практических и лабораторный работ,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ориентацией на активное и самостоятельное познание явлений природы, на развитие практических и творческих умений у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бучающихс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онная насыщенность текста учебник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Разработана система заданий направленная на  формирование навыка владения основами самоконтроля, самооценки, принятия решений и осуществления осознанного выбора в учебной и познавательной деятельности</a:t>
            </a:r>
          </a:p>
          <a:p>
            <a:pPr marL="352425" lvl="0" indent="-171450" fontAlgn="auto">
              <a:spcBef>
                <a:spcPts val="0"/>
              </a:spcBef>
              <a:spcAft>
                <a:spcPts val="0"/>
              </a:spcAft>
              <a:buClr>
                <a:srgbClr val="7B7B7B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ru-RU" b="1" dirty="0" smtClean="0">
                <a:latin typeface="Cambria" pitchFamily="18" charset="0"/>
              </a:rPr>
              <a:t>Изложение </a:t>
            </a:r>
            <a:r>
              <a:rPr lang="ru-RU" b="1" dirty="0">
                <a:latin typeface="Cambria" pitchFamily="18" charset="0"/>
              </a:rPr>
              <a:t>учебного материала характеризуется структурированностью, систематичностью </a:t>
            </a:r>
          </a:p>
          <a:p>
            <a:pPr marL="352425" lvl="0" indent="-171450" fontAlgn="auto">
              <a:spcBef>
                <a:spcPts val="0"/>
              </a:spcBef>
              <a:spcAft>
                <a:spcPts val="0"/>
              </a:spcAft>
              <a:buClr>
                <a:srgbClr val="7B7B7B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ru-RU" b="1" dirty="0">
                <a:latin typeface="Cambria" pitchFamily="18" charset="0"/>
              </a:rPr>
              <a:t>и последовательностью, разнообразием используемых видов текстовых и графических материалов (цветовые и шрифтовые выделения, алгоритмы, графики, схемы, иллюстрации и др.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Подзаголовок 3"/>
          <p:cNvSpPr txBox="1">
            <a:spLocks/>
          </p:cNvSpPr>
          <p:nvPr/>
        </p:nvSpPr>
        <p:spPr>
          <a:xfrm>
            <a:off x="5080000" y="4543822"/>
            <a:ext cx="6006893" cy="1722119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Состав УМК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рабочие тетрад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методические пособ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rgbClr val="2D3494"/>
                </a:solidFill>
                <a:cs typeface="Calibri" panose="020F0502020204030204" pitchFamily="34" charset="0"/>
              </a:rPr>
              <a:t>т</a:t>
            </a:r>
            <a:r>
              <a:rPr lang="ru-RU" sz="18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естовые задания</a:t>
            </a:r>
            <a:endParaRPr lang="ru-RU" sz="1800" b="1" dirty="0">
              <a:solidFill>
                <a:srgbClr val="2D349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рабочая программ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ЭФУ</a:t>
            </a: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401312" y="146007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ИНИЯ УМК </a:t>
            </a:r>
            <a:r>
              <a:rPr lang="ru-RU" sz="2400" dirty="0" smtClean="0">
                <a:solidFill>
                  <a:srgbClr val="EB204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НОМАРЕВОЙ И.Н., КОНСТАНТИНОВА В.М. И ДР. </a:t>
            </a:r>
          </a:p>
          <a:p>
            <a:pPr>
              <a:lnSpc>
                <a:spcPct val="100000"/>
              </a:lnSpc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5–11 КЛАССЫ)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r>
              <a:rPr lang="ru-RU" sz="2400" dirty="0" smtClean="0">
                <a:solidFill>
                  <a:srgbClr val="EB2049"/>
                </a:solidFill>
                <a:latin typeface="+mn-lt"/>
              </a:rPr>
              <a:t/>
            </a:r>
            <a:br>
              <a:rPr lang="ru-RU" sz="2400" dirty="0" smtClean="0">
                <a:solidFill>
                  <a:srgbClr val="EB2049"/>
                </a:solidFill>
                <a:latin typeface="+mn-lt"/>
              </a:rPr>
            </a:br>
            <a:r>
              <a:rPr lang="ru-RU" sz="2400" dirty="0" smtClean="0">
                <a:latin typeface="+mn-lt"/>
              </a:rPr>
              <a:t> </a:t>
            </a:r>
            <a:endParaRPr lang="ru-RU" altLang="ru-RU" sz="24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6" name="Букварь">
            <a:extLst>
              <a:ext uri="{FF2B5EF4-FFF2-40B4-BE49-F238E27FC236}">
                <a16:creationId xmlns="" xmlns:a16="http://schemas.microsoft.com/office/drawing/2014/main" id="{5046EC9A-EBBE-7B40-849E-165CF1830F1D}"/>
              </a:ext>
            </a:extLst>
          </p:cNvPr>
          <p:cNvSpPr txBox="1"/>
          <p:nvPr/>
        </p:nvSpPr>
        <p:spPr>
          <a:xfrm>
            <a:off x="3383092" y="2985319"/>
            <a:ext cx="1342957" cy="322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80000"/>
              </a:lnSpc>
              <a:defRPr sz="4400" b="0">
                <a:solidFill>
                  <a:srgbClr val="009044"/>
                </a:solidFill>
                <a:latin typeface="HeliosExtraCompressed"/>
                <a:ea typeface="HeliosExtraCompressed"/>
                <a:cs typeface="HeliosExtraCompressed"/>
              </a:defRPr>
            </a:lvl1pPr>
          </a:lstStyle>
          <a:p>
            <a:r>
              <a:rPr lang="ru-RU" sz="1100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Концентрический курс (5-9)</a:t>
            </a:r>
            <a:endParaRPr lang="ru-RU" sz="1100" dirty="0">
              <a:solidFill>
                <a:srgbClr val="2D3494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7" name="Букварь">
            <a:extLst>
              <a:ext uri="{FF2B5EF4-FFF2-40B4-BE49-F238E27FC236}">
                <a16:creationId xmlns="" xmlns:a16="http://schemas.microsoft.com/office/drawing/2014/main" id="{A65BE5AB-DB58-D74E-9720-24CEA346CFC1}"/>
              </a:ext>
            </a:extLst>
          </p:cNvPr>
          <p:cNvSpPr txBox="1"/>
          <p:nvPr/>
        </p:nvSpPr>
        <p:spPr>
          <a:xfrm>
            <a:off x="578389" y="2988915"/>
            <a:ext cx="1729275" cy="1867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80000"/>
              </a:lnSpc>
              <a:defRPr sz="4400" b="0">
                <a:solidFill>
                  <a:srgbClr val="009044"/>
                </a:solidFill>
                <a:latin typeface="HeliosExtraCompressed"/>
                <a:ea typeface="HeliosExtraCompressed"/>
                <a:cs typeface="HeliosExtraCompressed"/>
              </a:defRPr>
            </a:lvl1pPr>
          </a:lstStyle>
          <a:p>
            <a:r>
              <a:rPr lang="ru-RU" sz="1100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Линейный курс (5-9)</a:t>
            </a:r>
            <a:endParaRPr lang="ru-RU" sz="1100" dirty="0">
              <a:solidFill>
                <a:srgbClr val="2D3494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9" name="Подзаголовок 3"/>
          <p:cNvSpPr txBox="1">
            <a:spLocks/>
          </p:cNvSpPr>
          <p:nvPr/>
        </p:nvSpPr>
        <p:spPr>
          <a:xfrm>
            <a:off x="4696872" y="927415"/>
            <a:ext cx="7156095" cy="465401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2000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учение биологии через практику (практические занятия)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073201" y="2977518"/>
            <a:ext cx="1208267" cy="156620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459492" y="3291400"/>
            <a:ext cx="1227421" cy="15979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Букварь">
            <a:extLst>
              <a:ext uri="{FF2B5EF4-FFF2-40B4-BE49-F238E27FC236}">
                <a16:creationId xmlns="" xmlns:a16="http://schemas.microsoft.com/office/drawing/2014/main" id="{5046EC9A-EBBE-7B40-849E-165CF1830F1D}"/>
              </a:ext>
            </a:extLst>
          </p:cNvPr>
          <p:cNvSpPr txBox="1"/>
          <p:nvPr/>
        </p:nvSpPr>
        <p:spPr>
          <a:xfrm>
            <a:off x="2787404" y="4612242"/>
            <a:ext cx="1342957" cy="322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80000"/>
              </a:lnSpc>
              <a:defRPr sz="4400" b="0">
                <a:solidFill>
                  <a:srgbClr val="009044"/>
                </a:solidFill>
                <a:latin typeface="HeliosExtraCompressed"/>
                <a:ea typeface="HeliosExtraCompressed"/>
                <a:cs typeface="HeliosExtraCompressed"/>
              </a:defRPr>
            </a:lvl1pPr>
          </a:lstStyle>
          <a:p>
            <a:r>
              <a:rPr lang="ru-RU" sz="1100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Углубленный курс (10-11)</a:t>
            </a:r>
            <a:endParaRPr lang="ru-RU" sz="1100" dirty="0">
              <a:solidFill>
                <a:srgbClr val="2D3494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1" name="Букварь">
            <a:extLst>
              <a:ext uri="{FF2B5EF4-FFF2-40B4-BE49-F238E27FC236}">
                <a16:creationId xmlns="" xmlns:a16="http://schemas.microsoft.com/office/drawing/2014/main" id="{5046EC9A-EBBE-7B40-849E-165CF1830F1D}"/>
              </a:ext>
            </a:extLst>
          </p:cNvPr>
          <p:cNvSpPr txBox="1"/>
          <p:nvPr/>
        </p:nvSpPr>
        <p:spPr>
          <a:xfrm>
            <a:off x="1625908" y="5019120"/>
            <a:ext cx="1342957" cy="1867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80000"/>
              </a:lnSpc>
              <a:defRPr sz="4400" b="0">
                <a:solidFill>
                  <a:srgbClr val="009044"/>
                </a:solidFill>
                <a:latin typeface="HeliosExtraCompressed"/>
                <a:ea typeface="HeliosExtraCompressed"/>
                <a:cs typeface="HeliosExtraCompressed"/>
              </a:defRPr>
            </a:lvl1pPr>
          </a:lstStyle>
          <a:p>
            <a:r>
              <a:rPr lang="ru-RU" sz="1100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Базовый курс (10-11)</a:t>
            </a:r>
            <a:endParaRPr lang="ru-RU" sz="1100" dirty="0">
              <a:solidFill>
                <a:srgbClr val="2D3494"/>
              </a:solidFill>
              <a:latin typeface="+mn-lt"/>
              <a:cs typeface="Calibri" panose="020F0502020204030204" pitchFamily="34" charset="0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281056" y="1146260"/>
            <a:ext cx="1148237" cy="1491044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Picture 41" descr="ÐÐ¸Ð¾Ð»Ð¾Ð³Ð¸Ñ. 5-6Â ÐºÐ»Ð°ÑÑ. Ð£ÑÐµÐ±Ð½Ð¸Ðº.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05" y="1290938"/>
            <a:ext cx="1213435" cy="15774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320293" y="1160119"/>
            <a:ext cx="1185115" cy="15271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3" descr="C:\Users\Gabyash.DE\Desktop\cover1__w600 (9)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853401" y="1315652"/>
            <a:ext cx="1210963" cy="157425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5" name="Группа 34"/>
          <p:cNvGrpSpPr/>
          <p:nvPr/>
        </p:nvGrpSpPr>
        <p:grpSpPr>
          <a:xfrm>
            <a:off x="316172" y="5957650"/>
            <a:ext cx="580477" cy="597340"/>
            <a:chOff x="832043" y="1264362"/>
            <a:chExt cx="1022682" cy="1022682"/>
          </a:xfrm>
        </p:grpSpPr>
        <p:sp>
          <p:nvSpPr>
            <p:cNvPr id="36" name="Овал 35"/>
            <p:cNvSpPr/>
            <p:nvPr/>
          </p:nvSpPr>
          <p:spPr>
            <a:xfrm>
              <a:off x="832043" y="1264362"/>
              <a:ext cx="1022682" cy="1022682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2800" dirty="0" err="1">
                <a:solidFill>
                  <a:schemeClr val="bg1"/>
                </a:solidFill>
              </a:endParaRPr>
            </a:p>
          </p:txBody>
        </p:sp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982038" y="1449256"/>
              <a:ext cx="689502" cy="685493"/>
            </a:xfrm>
            <a:prstGeom prst="rect">
              <a:avLst/>
            </a:prstGeom>
          </p:spPr>
        </p:pic>
      </p:grpSp>
      <p:sp>
        <p:nvSpPr>
          <p:cNvPr id="38" name="Подзаголовок 3"/>
          <p:cNvSpPr txBox="1">
            <a:spLocks/>
          </p:cNvSpPr>
          <p:nvPr/>
        </p:nvSpPr>
        <p:spPr>
          <a:xfrm>
            <a:off x="1034560" y="5901417"/>
            <a:ext cx="3336663" cy="71001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D3494"/>
              </a:buClr>
            </a:pPr>
            <a:r>
              <a:rPr lang="ru-RU" dirty="0" smtClean="0">
                <a:cs typeface="Calibri" panose="020F0502020204030204" pitchFamily="34" charset="0"/>
              </a:rPr>
              <a:t>Поможем оформить закупку учебников и  учебных пособий для вашей школы. </a:t>
            </a:r>
          </a:p>
          <a:p>
            <a:pPr>
              <a:buClr>
                <a:srgbClr val="2D3494"/>
              </a:buClr>
            </a:pPr>
            <a:r>
              <a:rPr lang="ru-RU" dirty="0">
                <a:cs typeface="Calibri" panose="020F0502020204030204" pitchFamily="34" charset="0"/>
              </a:rPr>
              <a:t>По всем вопросам пишите на почту </a:t>
            </a:r>
            <a:r>
              <a:rPr lang="en-US" b="1" dirty="0">
                <a:solidFill>
                  <a:srgbClr val="EB2049"/>
                </a:solidFill>
              </a:rPr>
              <a:t>sales@rosuchebnik.ru </a:t>
            </a:r>
            <a:endParaRPr lang="ru-RU" b="1" dirty="0">
              <a:solidFill>
                <a:srgbClr val="EB204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88908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Целеполагание и конечный результат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6966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129" y="998166"/>
            <a:ext cx="6877051" cy="320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966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98167"/>
            <a:ext cx="6139543" cy="383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Овал 4"/>
          <p:cNvSpPr/>
          <p:nvPr/>
        </p:nvSpPr>
        <p:spPr>
          <a:xfrm>
            <a:off x="203325" y="181501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56013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749" y="4189566"/>
            <a:ext cx="5173251" cy="2668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0131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462" y="4634910"/>
            <a:ext cx="6010252" cy="2223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8760501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92739890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10648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990015" y="122704"/>
            <a:ext cx="9756616" cy="8274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онная   насыщенность  содержания</a:t>
            </a:r>
          </a:p>
          <a:p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ебников</a:t>
            </a:r>
          </a:p>
          <a:p>
            <a:pPr>
              <a:lnSpc>
                <a:spcPct val="100000"/>
              </a:lnSpc>
            </a:pPr>
            <a:endParaRPr lang="ru-RU" sz="2400" dirty="0" smtClean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 smtClean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 smtClean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 smtClean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 smtClean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 smtClean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 smtClean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400" dirty="0" smtClean="0">
              <a:latin typeface="Calibri"/>
            </a:endParaRPr>
          </a:p>
          <a:p>
            <a:pPr>
              <a:lnSpc>
                <a:spcPct val="100000"/>
              </a:lnSpc>
            </a:pPr>
            <a:endParaRPr lang="ru-RU" altLang="ru-RU" sz="2400" dirty="0">
              <a:latin typeface="Calibri"/>
              <a:cs typeface="Calibri" panose="020F0502020204030204" pitchFamily="34" charset="0"/>
            </a:endParaRPr>
          </a:p>
        </p:txBody>
      </p:sp>
      <p:pic>
        <p:nvPicPr>
          <p:cNvPr id="7" name="Picture 3" descr="C:\Users\Gabyash.DE\Desktop\cover1__w600 (9)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14331" y="143790"/>
            <a:ext cx="999508" cy="129936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41" descr="ÐÐ¸Ð¾Ð»Ð¾Ð³Ð¸Ñ. 5-6Â ÐºÐ»Ð°ÑÑ. Ð£ÑÐµÐ±Ð½Ð¸Ðº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5504" y="354591"/>
            <a:ext cx="917653" cy="14273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Скругленный прямоугольник 8"/>
          <p:cNvSpPr/>
          <p:nvPr/>
        </p:nvSpPr>
        <p:spPr>
          <a:xfrm>
            <a:off x="3586581" y="3106763"/>
            <a:ext cx="3826275" cy="1488605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Место для </a:t>
            </a:r>
            <a:r>
              <a:rPr lang="ru-RU" sz="1200" dirty="0" err="1" smtClean="0">
                <a:solidFill>
                  <a:srgbClr val="FFFFFF"/>
                </a:solidFill>
              </a:rPr>
              <a:t>скринов</a:t>
            </a:r>
            <a:r>
              <a:rPr lang="ru-RU" sz="1200" dirty="0" smtClean="0">
                <a:solidFill>
                  <a:srgbClr val="FFFFFF"/>
                </a:solidFill>
              </a:rPr>
              <a:t> с примерами из учебника</a:t>
            </a:r>
          </a:p>
        </p:txBody>
      </p:sp>
      <p:sp>
        <p:nvSpPr>
          <p:cNvPr id="10" name="Овал 9"/>
          <p:cNvSpPr/>
          <p:nvPr/>
        </p:nvSpPr>
        <p:spPr>
          <a:xfrm>
            <a:off x="158845" y="282621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318621" name="Picture 15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43" y="1046545"/>
            <a:ext cx="6029325" cy="200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8622" name="Picture 15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" y="2051431"/>
            <a:ext cx="6762751" cy="327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8623" name="Picture 15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6949" y="3506896"/>
            <a:ext cx="6115051" cy="205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8634" name="Picture 17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304" y="1369242"/>
            <a:ext cx="5781533" cy="2033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8636" name="Picture 17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48" y="3566666"/>
            <a:ext cx="6347015" cy="1997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4018871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71036" y="2932116"/>
            <a:ext cx="9834033" cy="250825"/>
          </a:xfrm>
        </p:spPr>
        <p:txBody>
          <a:bodyPr rtlCol="0">
            <a:normAutofit fontScale="90000"/>
          </a:bodyPr>
          <a:lstStyle/>
          <a:p>
            <a:pPr defTabSz="914378" fontAlgn="auto"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type="subTitle" idx="1"/>
          </p:nvPr>
        </p:nvSpPr>
        <p:spPr>
          <a:xfrm>
            <a:off x="1092820" y="2714324"/>
            <a:ext cx="10169912" cy="2695074"/>
          </a:xfrm>
        </p:spPr>
        <p:txBody>
          <a:bodyPr rtlCol="0">
            <a:normAutofit fontScale="62500" lnSpcReduction="20000"/>
          </a:bodyPr>
          <a:lstStyle/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7200" kern="10" dirty="0">
              <a:ln w="12700">
                <a:solidFill>
                  <a:srgbClr val="495E87"/>
                </a:solidFill>
                <a:round/>
                <a:headEnd/>
                <a:tailEnd/>
              </a:ln>
            </a:endParaRPr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7200" b="1" dirty="0"/>
              <a:t>8-495-795-05-35</a:t>
            </a:r>
            <a:r>
              <a:rPr lang="en-US" sz="7200" b="1" dirty="0"/>
              <a:t> (</a:t>
            </a:r>
            <a:r>
              <a:rPr lang="ru-RU" sz="7200" b="1" dirty="0"/>
              <a:t>доб.71-55</a:t>
            </a:r>
            <a:r>
              <a:rPr lang="en-US" sz="7200" b="1" dirty="0"/>
              <a:t>)</a:t>
            </a:r>
            <a:r>
              <a:rPr lang="ru-RU" sz="7200" b="1" dirty="0"/>
              <a:t>, </a:t>
            </a:r>
            <a:r>
              <a:rPr lang="ru-RU" sz="7200" b="1" dirty="0" smtClean="0"/>
              <a:t>Кондратьева Елена Михайловна</a:t>
            </a:r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7200" dirty="0" smtClean="0"/>
              <a:t>Kondrateva.EM@rosuchebnik.ru</a:t>
            </a:r>
            <a:endParaRPr lang="en-US" sz="7200" dirty="0"/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7200" dirty="0"/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29617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57168427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11673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973096" y="194903"/>
            <a:ext cx="11093399" cy="7940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2D3494"/>
                </a:solidFill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дробное описание  лабораторных  и практических работ</a:t>
            </a:r>
            <a:endParaRPr lang="ru-RU" sz="3200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b="0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altLang="ru-RU" dirty="0"/>
          </a:p>
        </p:txBody>
      </p:sp>
      <p:pic>
        <p:nvPicPr>
          <p:cNvPr id="14" name="Picture 3" descr="C:\Users\Gabyash.DE\Desktop\cover1__w600 (9)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167875" y="1092505"/>
            <a:ext cx="898620" cy="116820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41" descr="ÐÐ¸Ð¾Ð»Ð¾Ð³Ð¸Ñ. 5-6Â ÐºÐ»Ð°ÑÑ. Ð£ÑÐµÐ±Ð½Ð¸Ðº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355" y="1482595"/>
            <a:ext cx="1001548" cy="130201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"/>
          <p:cNvSpPr txBox="1">
            <a:spLocks/>
          </p:cNvSpPr>
          <p:nvPr/>
        </p:nvSpPr>
        <p:spPr>
          <a:xfrm>
            <a:off x="214176" y="965394"/>
            <a:ext cx="9604528" cy="82092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2D3494"/>
                </a:solidFill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altLang="ru-RU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8" cstate="print"/>
          <a:srcRect l="25987" t="35437" r="24992" b="32079"/>
          <a:stretch>
            <a:fillRect/>
          </a:stretch>
        </p:blipFill>
        <p:spPr bwMode="auto">
          <a:xfrm>
            <a:off x="4573969" y="1635281"/>
            <a:ext cx="4968552" cy="263393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Рисунок 15" descr="лр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684" y="1676608"/>
            <a:ext cx="4184125" cy="3710451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Овал 16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232749" name="Picture 30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1205" y="2752807"/>
            <a:ext cx="4742632" cy="3032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257832" y="730847"/>
            <a:ext cx="70633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D3494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Формирование умений:  </a:t>
            </a:r>
            <a:r>
              <a:rPr lang="ru-RU" b="1" dirty="0">
                <a:solidFill>
                  <a:srgbClr val="2D3494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безопасного и эффективного использования лабораторного </a:t>
            </a:r>
            <a:r>
              <a:rPr lang="ru-RU" b="1" dirty="0" smtClean="0">
                <a:solidFill>
                  <a:srgbClr val="2D3494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борудования; </a:t>
            </a:r>
            <a:r>
              <a:rPr lang="ru-RU" b="1" dirty="0">
                <a:solidFill>
                  <a:srgbClr val="2D3494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оведения точных </a:t>
            </a:r>
            <a:r>
              <a:rPr lang="ru-RU" b="1" dirty="0" smtClean="0">
                <a:solidFill>
                  <a:srgbClr val="2D3494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измерений;  синтеза и анализа  полученных результатов.</a:t>
            </a:r>
            <a:endParaRPr lang="ru-RU" b="1" dirty="0">
              <a:solidFill>
                <a:srgbClr val="2D349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2756" name="Picture 308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5312" y="3361037"/>
            <a:ext cx="3921775" cy="2424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674791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r>
              <a:rPr lang="ru-RU" sz="3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тностные</a:t>
            </a:r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дания</a:t>
            </a:r>
            <a:endParaRPr lang="ru-RU" sz="3200" dirty="0"/>
          </a:p>
        </p:txBody>
      </p:sp>
      <p:pic>
        <p:nvPicPr>
          <p:cNvPr id="3686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89331"/>
            <a:ext cx="6019800" cy="391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4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2032" y="1810657"/>
            <a:ext cx="5572125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069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417" y="4916487"/>
            <a:ext cx="596265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865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429" y="742271"/>
            <a:ext cx="7590971" cy="1118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Овал 6"/>
          <p:cNvSpPr/>
          <p:nvPr/>
        </p:nvSpPr>
        <p:spPr>
          <a:xfrm>
            <a:off x="304069" y="280198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920472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lnSpc>
                <a:spcPct val="100000"/>
              </a:lnSpc>
              <a:spcBef>
                <a:spcPct val="20000"/>
              </a:spcBef>
            </a:pPr>
            <a:r>
              <a:rPr lang="ru-RU" sz="2300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     </a:t>
            </a:r>
            <a:r>
              <a:rPr lang="ru-RU" sz="3200" dirty="0" err="1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омпетентностные</a:t>
            </a:r>
            <a:r>
              <a:rPr lang="ru-RU" sz="3200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ru-RU" sz="32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дания</a:t>
            </a:r>
          </a:p>
        </p:txBody>
      </p:sp>
      <p:pic>
        <p:nvPicPr>
          <p:cNvPr id="37478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7041" y="2010561"/>
            <a:ext cx="6667500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4455891" y="986972"/>
            <a:ext cx="7490961" cy="1007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ct val="20000"/>
              </a:spcBef>
              <a:buClrTx/>
            </a:pPr>
            <a:r>
              <a:rPr lang="ru-RU" b="1" dirty="0" smtClean="0">
                <a:solidFill>
                  <a:srgbClr val="2D3494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Формируют  умения: </a:t>
            </a:r>
            <a:r>
              <a:rPr lang="ru-RU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яснять явления; выдвигать </a:t>
            </a:r>
            <a:r>
              <a:rPr lang="ru-RU" b="1" dirty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проверять </a:t>
            </a:r>
            <a:r>
              <a:rPr lang="ru-RU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потезы; прогнозировать события; планировать </a:t>
            </a:r>
            <a:r>
              <a:rPr lang="ru-RU" b="1" dirty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х этапов </a:t>
            </a:r>
            <a:r>
              <a:rPr lang="ru-RU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следования; анализировать </a:t>
            </a:r>
            <a:r>
              <a:rPr lang="ru-RU" b="1" dirty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ные, представленных в разной </a:t>
            </a:r>
            <a:r>
              <a:rPr lang="ru-RU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е; обосновывать </a:t>
            </a:r>
            <a:r>
              <a:rPr lang="ru-RU" b="1" dirty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обсуждать результаты </a:t>
            </a:r>
            <a:r>
              <a:rPr lang="ru-RU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спериментов; использовать </a:t>
            </a:r>
            <a:r>
              <a:rPr lang="ru-RU" b="1" dirty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ональную </a:t>
            </a:r>
            <a:r>
              <a:rPr lang="ru-RU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рминологию</a:t>
            </a:r>
            <a:endParaRPr lang="ru-RU" b="1" dirty="0">
              <a:solidFill>
                <a:srgbClr val="2D349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6454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9141" y="1940949"/>
            <a:ext cx="6010275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853" y="3198249"/>
            <a:ext cx="6270851" cy="1404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454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7041" y="3547058"/>
            <a:ext cx="6145892" cy="1055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Овал 9"/>
          <p:cNvSpPr/>
          <p:nvPr/>
        </p:nvSpPr>
        <p:spPr>
          <a:xfrm>
            <a:off x="71840" y="175135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469710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7930" y="1"/>
            <a:ext cx="12209931" cy="1166768"/>
          </a:xfrm>
        </p:spPr>
        <p:txBody>
          <a:bodyPr/>
          <a:lstStyle/>
          <a:p>
            <a:r>
              <a:rPr lang="ru-RU" sz="2400" dirty="0" smtClean="0">
                <a:latin typeface="Calibri"/>
                <a:ea typeface="Times New Roman"/>
                <a:cs typeface="Times New Roman"/>
              </a:rPr>
              <a:t>             </a:t>
            </a:r>
            <a:r>
              <a:rPr lang="ru-RU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тностные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дания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7273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456588"/>
            <a:ext cx="6677025" cy="203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273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5077" y="1447063"/>
            <a:ext cx="6074155" cy="409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7124" y="3494945"/>
            <a:ext cx="7451272" cy="138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Овал 7"/>
          <p:cNvSpPr/>
          <p:nvPr/>
        </p:nvSpPr>
        <p:spPr>
          <a:xfrm>
            <a:off x="180756" y="1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036472" y="289556"/>
            <a:ext cx="71555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D3494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Формируют  умения: </a:t>
            </a:r>
            <a:r>
              <a:rPr lang="ru-RU" b="1" dirty="0" smtClean="0">
                <a:solidFill>
                  <a:srgbClr val="2D3494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           </a:t>
            </a:r>
            <a:r>
              <a:rPr lang="ru-RU" b="1" dirty="0">
                <a:solidFill>
                  <a:srgbClr val="2D3494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в</a:t>
            </a:r>
            <a:r>
              <a:rPr lang="ru-RU" b="1" dirty="0">
                <a:solidFill>
                  <a:srgbClr val="2D3494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ладения основами    самоконтроля,  самооценки,  принятия решений и                 осуществления осознанного   выбора в учебной и познавательной деятельности</a:t>
            </a:r>
            <a:endParaRPr lang="ru-RU" dirty="0"/>
          </a:p>
        </p:txBody>
      </p:sp>
      <p:pic>
        <p:nvPicPr>
          <p:cNvPr id="56217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824" y="5050461"/>
            <a:ext cx="6042255" cy="1406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6129631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r>
              <a:rPr lang="ru-RU" sz="3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тностные</a:t>
            </a:r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дания</a:t>
            </a:r>
            <a:endParaRPr lang="ru-RU" dirty="0"/>
          </a:p>
        </p:txBody>
      </p:sp>
      <p:pic>
        <p:nvPicPr>
          <p:cNvPr id="37273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804" y="2162964"/>
            <a:ext cx="6299199" cy="2390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557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3966" y="2432375"/>
            <a:ext cx="6633028" cy="1851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Овал 8"/>
          <p:cNvSpPr/>
          <p:nvPr/>
        </p:nvSpPr>
        <p:spPr>
          <a:xfrm>
            <a:off x="209908" y="147807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0" name="Текст 10"/>
          <p:cNvSpPr txBox="1">
            <a:spLocks/>
          </p:cNvSpPr>
          <p:nvPr/>
        </p:nvSpPr>
        <p:spPr>
          <a:xfrm>
            <a:off x="4252689" y="755946"/>
            <a:ext cx="7939315" cy="14773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ct val="20000"/>
              </a:spcBef>
              <a:buClrTx/>
            </a:pPr>
            <a:r>
              <a:rPr lang="ru-RU" sz="1800" b="1" dirty="0" smtClean="0">
                <a:solidFill>
                  <a:srgbClr val="2D3494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Формируют  умения: </a:t>
            </a:r>
            <a:r>
              <a:rPr lang="ru-RU" sz="1800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яснять явления; выдвигать и проверять гипотезы; прогнозировать события; планировать основных этапов исследования; анализировать данные, представленных в разной форме; обосновывать и обсуждать результаты экспериментов; использовать профессиональную терминологию</a:t>
            </a:r>
            <a:endParaRPr lang="ru-RU" sz="1800" b="1" dirty="0">
              <a:solidFill>
                <a:srgbClr val="2D349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6115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1028" y="4553183"/>
            <a:ext cx="6762751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115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907" y="3959000"/>
            <a:ext cx="5876925" cy="277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541727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Применение </a:t>
            </a:r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наний в практической жизненной ситуации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665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85822"/>
            <a:ext cx="61055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659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181" y="885822"/>
            <a:ext cx="6648451" cy="23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633" y="4042800"/>
            <a:ext cx="6010275" cy="188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659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0073" y="2671762"/>
            <a:ext cx="6924675" cy="340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Овал 6"/>
          <p:cNvSpPr/>
          <p:nvPr/>
        </p:nvSpPr>
        <p:spPr>
          <a:xfrm>
            <a:off x="209908" y="147807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534918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52400" y="3"/>
            <a:ext cx="11887200" cy="1357291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1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ния УМК по биологии  для 5-9 классов (линейный курс) И.Н. Пономаревой,  Т.С. Суховой, В.М. Константинова и др. </a:t>
            </a:r>
            <a:r>
              <a:rPr lang="ru-RU" sz="31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1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1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1.2.5.2.6.1-1.2.5.2.6.4</a:t>
            </a:r>
            <a:r>
              <a:rPr lang="ru-RU" sz="31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dirty="0"/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070116649"/>
              </p:ext>
            </p:extLst>
          </p:nvPr>
        </p:nvGraphicFramePr>
        <p:xfrm>
          <a:off x="0" y="1417565"/>
          <a:ext cx="12192001" cy="54404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0001">
                  <a:extLst>
                    <a:ext uri="{9D8B030D-6E8A-4147-A177-3AD203B41FA5}">
                      <a16:colId xmlns="" xmlns:a16="http://schemas.microsoft.com/office/drawing/2014/main" val="3749707040"/>
                    </a:ext>
                  </a:extLst>
                </a:gridCol>
                <a:gridCol w="2140135">
                  <a:extLst>
                    <a:ext uri="{9D8B030D-6E8A-4147-A177-3AD203B41FA5}">
                      <a16:colId xmlns="" xmlns:a16="http://schemas.microsoft.com/office/drawing/2014/main" val="718386153"/>
                    </a:ext>
                  </a:extLst>
                </a:gridCol>
                <a:gridCol w="1261095">
                  <a:extLst>
                    <a:ext uri="{9D8B030D-6E8A-4147-A177-3AD203B41FA5}">
                      <a16:colId xmlns="" xmlns:a16="http://schemas.microsoft.com/office/drawing/2014/main" val="3576107739"/>
                    </a:ext>
                  </a:extLst>
                </a:gridCol>
                <a:gridCol w="4923619">
                  <a:extLst>
                    <a:ext uri="{9D8B030D-6E8A-4147-A177-3AD203B41FA5}">
                      <a16:colId xmlns="" xmlns:a16="http://schemas.microsoft.com/office/drawing/2014/main" val="4044565624"/>
                    </a:ext>
                  </a:extLst>
                </a:gridCol>
                <a:gridCol w="1087151">
                  <a:extLst>
                    <a:ext uri="{9D8B030D-6E8A-4147-A177-3AD203B41FA5}">
                      <a16:colId xmlns="" xmlns:a16="http://schemas.microsoft.com/office/drawing/2014/main" val="2732747649"/>
                    </a:ext>
                  </a:extLst>
                </a:gridCol>
              </a:tblGrid>
              <a:tr h="760497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тор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звание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новное содержание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асы в неделю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44748784"/>
                  </a:ext>
                </a:extLst>
              </a:tr>
              <a:tr h="1080707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6 класс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5.6.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.С. Сухова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.И. Строгонов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иология 5-6 класс»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ируются общие биологические понятия,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накомство с признаками живых организмов с учетом среды обитания 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час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624847961"/>
                  </a:ext>
                </a:extLst>
              </a:tr>
              <a:tr h="950836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класс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5.6.2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.И. Пономарева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.А. Корнилова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.С. Кучменко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51515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«Биология 7 класс»</a:t>
                      </a:r>
                    </a:p>
                    <a:p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учение  растений, грибов, бактерий, особенностями  их жизненных условий и строения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427489633"/>
                  </a:ext>
                </a:extLst>
              </a:tr>
              <a:tr h="1080707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класс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5.6.3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.М. Константинов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.Г. Бабенко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.С. Кучменко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51515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«Биология 8 класс»</a:t>
                      </a:r>
                    </a:p>
                    <a:p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учение зоологии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709924179"/>
                  </a:ext>
                </a:extLst>
              </a:tr>
              <a:tr h="1080707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9 класс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5.6.4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.Г. </a:t>
                      </a:r>
                      <a:r>
                        <a:rPr lang="ru-RU" sz="16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рагомилов</a:t>
                      </a:r>
                      <a:endParaRPr lang="ru-RU" sz="16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.Д Маш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51515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«Биология 9 класс»</a:t>
                      </a:r>
                    </a:p>
                    <a:p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ение и функции человеческого организм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443882065"/>
                  </a:ext>
                </a:extLst>
              </a:tr>
              <a:tr h="486985">
                <a:tc>
                  <a:txBody>
                    <a:bodyPr/>
                    <a:lstStyle/>
                    <a:p>
                      <a:endParaRPr lang="ru-RU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164468261"/>
                  </a:ext>
                </a:extLst>
              </a:tr>
            </a:tbl>
          </a:graphicData>
        </a:graphic>
      </p:graphicFrame>
      <p:pic>
        <p:nvPicPr>
          <p:cNvPr id="4" name="Picture 37" descr="2348_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50447" y="1640551"/>
            <a:ext cx="1054185" cy="139524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4" descr="\\parovoz\from_red\_ЭВУ\_Электронные приложения\design\covers\248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23043" y="3035795"/>
            <a:ext cx="963116" cy="128415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3" descr="\\parovoz\from_red\_ЭВУ\_Электронные приложения\design\covers\248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17403" y="4194543"/>
            <a:ext cx="1001777" cy="129185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2" descr="\\parovoz\from_red\_ЭВУ\_Электронные приложения\design\covers\248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07875" y="5266368"/>
            <a:ext cx="1035000" cy="135371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18293854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30903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Линия"/>
          <p:cNvSpPr>
            <a:spLocks/>
          </p:cNvSpPr>
          <p:nvPr/>
        </p:nvSpPr>
        <p:spPr>
          <a:xfrm flipV="1">
            <a:off x="4276349" y="1075484"/>
            <a:ext cx="1667" cy="5031677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11" name="Текст 27"/>
          <p:cNvSpPr txBox="1">
            <a:spLocks/>
          </p:cNvSpPr>
          <p:nvPr/>
        </p:nvSpPr>
        <p:spPr>
          <a:xfrm>
            <a:off x="334433" y="6195252"/>
            <a:ext cx="11520000" cy="28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 </a:t>
            </a:r>
            <a:endParaRPr lang="ru-RU" dirty="0"/>
          </a:p>
        </p:txBody>
      </p:sp>
      <p:sp>
        <p:nvSpPr>
          <p:cNvPr id="37" name="Линия"/>
          <p:cNvSpPr/>
          <p:nvPr/>
        </p:nvSpPr>
        <p:spPr>
          <a:xfrm flipV="1">
            <a:off x="722979" y="1466195"/>
            <a:ext cx="11208612" cy="38322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40" name="Рабочая тетрадь"/>
          <p:cNvSpPr txBox="1"/>
          <p:nvPr/>
        </p:nvSpPr>
        <p:spPr>
          <a:xfrm>
            <a:off x="1997400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>
                <a:solidFill>
                  <a:srgbClr val="2D3494"/>
                </a:solidFill>
                <a:latin typeface="+mn-lt"/>
              </a:rPr>
              <a:t>5</a:t>
            </a:r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2" name="Рабочая тетрадь"/>
          <p:cNvSpPr txBox="1"/>
          <p:nvPr/>
        </p:nvSpPr>
        <p:spPr>
          <a:xfrm>
            <a:off x="319195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6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3" name="Рабочая тетрадь"/>
          <p:cNvSpPr txBox="1"/>
          <p:nvPr/>
        </p:nvSpPr>
        <p:spPr>
          <a:xfrm>
            <a:off x="4211853" y="114303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7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4" name="Рабочая тетрадь"/>
          <p:cNvSpPr txBox="1"/>
          <p:nvPr/>
        </p:nvSpPr>
        <p:spPr>
          <a:xfrm>
            <a:off x="5339421" y="1132942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8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6" name="Рабочая тетрадь"/>
          <p:cNvSpPr txBox="1"/>
          <p:nvPr/>
        </p:nvSpPr>
        <p:spPr>
          <a:xfrm>
            <a:off x="6372880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9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8" name="Рабочая тетрадь"/>
          <p:cNvSpPr txBox="1"/>
          <p:nvPr/>
        </p:nvSpPr>
        <p:spPr>
          <a:xfrm>
            <a:off x="7938091" y="114298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0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0" name="Рабочая тетрадь"/>
          <p:cNvSpPr txBox="1"/>
          <p:nvPr/>
        </p:nvSpPr>
        <p:spPr>
          <a:xfrm>
            <a:off x="10246931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1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3" name="Линия"/>
          <p:cNvSpPr>
            <a:spLocks/>
          </p:cNvSpPr>
          <p:nvPr/>
        </p:nvSpPr>
        <p:spPr>
          <a:xfrm flipH="1" flipV="1">
            <a:off x="1729021" y="1061639"/>
            <a:ext cx="7443" cy="518677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9" name="Линия"/>
          <p:cNvSpPr>
            <a:spLocks/>
          </p:cNvSpPr>
          <p:nvPr/>
        </p:nvSpPr>
        <p:spPr>
          <a:xfrm flipH="1" flipV="1">
            <a:off x="11734344" y="1088612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6" name="Линия"/>
          <p:cNvSpPr>
            <a:spLocks/>
          </p:cNvSpPr>
          <p:nvPr/>
        </p:nvSpPr>
        <p:spPr>
          <a:xfrm flipH="1" flipV="1">
            <a:off x="9576595" y="1124198"/>
            <a:ext cx="28287" cy="3847824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3" name="Линия"/>
          <p:cNvSpPr>
            <a:spLocks/>
          </p:cNvSpPr>
          <p:nvPr/>
        </p:nvSpPr>
        <p:spPr>
          <a:xfrm flipH="1" flipV="1">
            <a:off x="2963080" y="1124199"/>
            <a:ext cx="7725" cy="425724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8" name="Рабочая тетрадь"/>
          <p:cNvSpPr txBox="1"/>
          <p:nvPr/>
        </p:nvSpPr>
        <p:spPr>
          <a:xfrm>
            <a:off x="723024" y="1933127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Рабочие тетради 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61" name="Рабочая тетрадь"/>
          <p:cNvSpPr txBox="1"/>
          <p:nvPr/>
        </p:nvSpPr>
        <p:spPr>
          <a:xfrm>
            <a:off x="723024" y="3316941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Методические пособия 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85" name="Рабочая тетрадь"/>
          <p:cNvSpPr txBox="1"/>
          <p:nvPr/>
        </p:nvSpPr>
        <p:spPr>
          <a:xfrm>
            <a:off x="723024" y="5650253"/>
            <a:ext cx="1109479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Программы</a:t>
            </a:r>
          </a:p>
        </p:txBody>
      </p:sp>
      <p:pic>
        <p:nvPicPr>
          <p:cNvPr id="87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3045" y="5012069"/>
            <a:ext cx="688247" cy="232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8" name="Рабочая тетрадь"/>
          <p:cNvSpPr txBox="1"/>
          <p:nvPr/>
        </p:nvSpPr>
        <p:spPr>
          <a:xfrm>
            <a:off x="723024" y="4827923"/>
            <a:ext cx="1109479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ЭФУ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grpSp>
        <p:nvGrpSpPr>
          <p:cNvPr id="89" name="Group 81"/>
          <p:cNvGrpSpPr/>
          <p:nvPr/>
        </p:nvGrpSpPr>
        <p:grpSpPr>
          <a:xfrm>
            <a:off x="2143515" y="4496526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90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1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2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93" name="Group 81"/>
          <p:cNvGrpSpPr/>
          <p:nvPr/>
        </p:nvGrpSpPr>
        <p:grpSpPr>
          <a:xfrm>
            <a:off x="3242023" y="4496526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94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5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6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97" name="Group 81"/>
          <p:cNvGrpSpPr/>
          <p:nvPr/>
        </p:nvGrpSpPr>
        <p:grpSpPr>
          <a:xfrm>
            <a:off x="4393943" y="4496526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98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9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0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01" name="Group 81"/>
          <p:cNvGrpSpPr/>
          <p:nvPr/>
        </p:nvGrpSpPr>
        <p:grpSpPr>
          <a:xfrm>
            <a:off x="5400099" y="4474322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02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3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4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05" name="Group 81"/>
          <p:cNvGrpSpPr/>
          <p:nvPr/>
        </p:nvGrpSpPr>
        <p:grpSpPr>
          <a:xfrm>
            <a:off x="6546927" y="4489910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06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7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8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43" name="Группа 142"/>
          <p:cNvGrpSpPr/>
          <p:nvPr/>
        </p:nvGrpSpPr>
        <p:grpSpPr>
          <a:xfrm>
            <a:off x="8595545" y="5058807"/>
            <a:ext cx="900000" cy="1080000"/>
            <a:chOff x="2781580" y="3812558"/>
            <a:chExt cx="560349" cy="720000"/>
          </a:xfrm>
        </p:grpSpPr>
        <p:sp>
          <p:nvSpPr>
            <p:cNvPr id="144" name="Прямоугольник 143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5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46" name="Группа 145"/>
          <p:cNvGrpSpPr/>
          <p:nvPr/>
        </p:nvGrpSpPr>
        <p:grpSpPr>
          <a:xfrm>
            <a:off x="9670815" y="5058807"/>
            <a:ext cx="900000" cy="1080000"/>
            <a:chOff x="2781580" y="3812558"/>
            <a:chExt cx="560349" cy="720000"/>
          </a:xfrm>
        </p:grpSpPr>
        <p:sp>
          <p:nvSpPr>
            <p:cNvPr id="147" name="Прямоугольник 146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8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sp>
        <p:nvSpPr>
          <p:cNvPr id="151" name="Линия"/>
          <p:cNvSpPr>
            <a:spLocks/>
          </p:cNvSpPr>
          <p:nvPr/>
        </p:nvSpPr>
        <p:spPr>
          <a:xfrm flipH="1" flipV="1">
            <a:off x="7367304" y="1168977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52" name="Линия"/>
          <p:cNvSpPr>
            <a:spLocks/>
          </p:cNvSpPr>
          <p:nvPr/>
        </p:nvSpPr>
        <p:spPr>
          <a:xfrm flipH="1" flipV="1">
            <a:off x="4046933" y="1108285"/>
            <a:ext cx="3779" cy="3950522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53" name="Линия"/>
          <p:cNvSpPr>
            <a:spLocks/>
          </p:cNvSpPr>
          <p:nvPr/>
        </p:nvSpPr>
        <p:spPr>
          <a:xfrm flipH="1" flipV="1">
            <a:off x="5130229" y="1132839"/>
            <a:ext cx="44889" cy="3925968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54" name="Линия"/>
          <p:cNvSpPr>
            <a:spLocks/>
          </p:cNvSpPr>
          <p:nvPr/>
        </p:nvSpPr>
        <p:spPr>
          <a:xfrm flipH="1" flipV="1">
            <a:off x="6205813" y="1153899"/>
            <a:ext cx="4472" cy="3904908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29" name="Прямоугольник 128"/>
          <p:cNvSpPr/>
          <p:nvPr/>
        </p:nvSpPr>
        <p:spPr>
          <a:xfrm>
            <a:off x="1140293" y="255317"/>
            <a:ext cx="9002149" cy="4050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>
                <a:solidFill>
                  <a:srgbClr val="2D3494"/>
                </a:solidFill>
                <a:ea typeface="+mj-ea"/>
                <a:cs typeface="Calibri" panose="020F0502020204030204" pitchFamily="34" charset="0"/>
              </a:rPr>
              <a:t>КОМПОНЕНТЫ </a:t>
            </a:r>
            <a:r>
              <a:rPr lang="ru-RU" sz="2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ЛИНИИ </a:t>
            </a:r>
            <a:r>
              <a:rPr lang="ru-RU" sz="2400" b="1" dirty="0">
                <a:solidFill>
                  <a:srgbClr val="2D3494"/>
                </a:solidFill>
                <a:cs typeface="Calibri" panose="020F0502020204030204" pitchFamily="34" charset="0"/>
              </a:rPr>
              <a:t>УМК </a:t>
            </a:r>
            <a:r>
              <a:rPr lang="ru-RU" sz="2400" b="1" dirty="0" smtClean="0">
                <a:solidFill>
                  <a:srgbClr val="EB2049"/>
                </a:solidFill>
                <a:cs typeface="Calibri" panose="020F0502020204030204" pitchFamily="34" charset="0"/>
              </a:rPr>
              <a:t>ПОНОМАРЕВОЙ И.Н. (линейный курс) </a:t>
            </a:r>
            <a:endParaRPr lang="ru-RU" sz="2400" b="1" dirty="0">
              <a:solidFill>
                <a:srgbClr val="EB2049"/>
              </a:solidFill>
              <a:ea typeface="+mj-ea"/>
              <a:cs typeface="Calibri" panose="020F0502020204030204" pitchFamily="34" charset="0"/>
            </a:endParaRPr>
          </a:p>
        </p:txBody>
      </p:sp>
      <p:pic>
        <p:nvPicPr>
          <p:cNvPr id="157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99171" y="3078278"/>
            <a:ext cx="803368" cy="108855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8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768236" y="1672397"/>
            <a:ext cx="792000" cy="103861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9" name="Picture 5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00468" y="1690891"/>
            <a:ext cx="792000" cy="1030071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0" name="Рисунок 159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2549545" y="1682894"/>
            <a:ext cx="792000" cy="102466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1" name="Рисунок 160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2745513" y="1896452"/>
            <a:ext cx="792000" cy="100693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2" name="Рисунок 161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4239212" y="1654807"/>
            <a:ext cx="792000" cy="101928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3" name="Рисунок 162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307371" y="1877478"/>
            <a:ext cx="792000" cy="103078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4" name="Рисунок 163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5245368" y="1653493"/>
            <a:ext cx="792000" cy="102605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5" name="Рисунок 164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5376824" y="1885942"/>
            <a:ext cx="792000" cy="10267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6" name="Рисунок 165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6392195" y="1671584"/>
            <a:ext cx="792000" cy="10260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7" name="Рисунок 166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6501895" y="1901970"/>
            <a:ext cx="792000" cy="103386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8" name="Рисунок 167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2601639" y="3078278"/>
            <a:ext cx="792000" cy="116081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9" name="Рисунок 168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4239212" y="3078280"/>
            <a:ext cx="792000" cy="115264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70" name="Группа 169"/>
          <p:cNvGrpSpPr/>
          <p:nvPr/>
        </p:nvGrpSpPr>
        <p:grpSpPr>
          <a:xfrm>
            <a:off x="5191368" y="3078278"/>
            <a:ext cx="900000" cy="1080000"/>
            <a:chOff x="2781580" y="3812558"/>
            <a:chExt cx="560349" cy="720000"/>
          </a:xfrm>
        </p:grpSpPr>
        <p:sp>
          <p:nvSpPr>
            <p:cNvPr id="171" name="Прямоугольник 170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2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73" name="Группа 172"/>
          <p:cNvGrpSpPr/>
          <p:nvPr/>
        </p:nvGrpSpPr>
        <p:grpSpPr>
          <a:xfrm>
            <a:off x="6338195" y="3078278"/>
            <a:ext cx="900000" cy="1080000"/>
            <a:chOff x="2781580" y="3812558"/>
            <a:chExt cx="560349" cy="720000"/>
          </a:xfrm>
        </p:grpSpPr>
        <p:sp>
          <p:nvSpPr>
            <p:cNvPr id="174" name="Прямоугольник 173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5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76" name="Группа 175"/>
          <p:cNvGrpSpPr/>
          <p:nvPr/>
        </p:nvGrpSpPr>
        <p:grpSpPr>
          <a:xfrm>
            <a:off x="8530607" y="3078278"/>
            <a:ext cx="900000" cy="1080000"/>
            <a:chOff x="2781580" y="3812558"/>
            <a:chExt cx="560349" cy="720000"/>
          </a:xfrm>
        </p:grpSpPr>
        <p:sp>
          <p:nvSpPr>
            <p:cNvPr id="177" name="Прямоугольник 176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8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79" name="Группа 178"/>
          <p:cNvGrpSpPr/>
          <p:nvPr/>
        </p:nvGrpSpPr>
        <p:grpSpPr>
          <a:xfrm>
            <a:off x="9792655" y="3078278"/>
            <a:ext cx="900000" cy="1080000"/>
            <a:chOff x="2781580" y="3812558"/>
            <a:chExt cx="560349" cy="720000"/>
          </a:xfrm>
        </p:grpSpPr>
        <p:sp>
          <p:nvSpPr>
            <p:cNvPr id="180" name="Прямоугольник 179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81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82" name="Группа 181"/>
          <p:cNvGrpSpPr/>
          <p:nvPr/>
        </p:nvGrpSpPr>
        <p:grpSpPr>
          <a:xfrm>
            <a:off x="10757007" y="3078278"/>
            <a:ext cx="900852" cy="1080000"/>
            <a:chOff x="2781580" y="3812558"/>
            <a:chExt cx="560349" cy="720000"/>
          </a:xfrm>
        </p:grpSpPr>
        <p:sp>
          <p:nvSpPr>
            <p:cNvPr id="183" name="Прямоугольник 182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84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85" name="Group 81"/>
          <p:cNvGrpSpPr/>
          <p:nvPr/>
        </p:nvGrpSpPr>
        <p:grpSpPr>
          <a:xfrm>
            <a:off x="8205467" y="4473010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86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87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88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89" name="Group 81"/>
          <p:cNvGrpSpPr/>
          <p:nvPr/>
        </p:nvGrpSpPr>
        <p:grpSpPr>
          <a:xfrm>
            <a:off x="10318967" y="4481460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90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91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92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pic>
        <p:nvPicPr>
          <p:cNvPr id="193" name="Рисунок 192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4239213" y="5175237"/>
            <a:ext cx="752952" cy="102673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9" name="Freeform 159"/>
          <p:cNvSpPr>
            <a:spLocks noEditPoints="1"/>
          </p:cNvSpPr>
          <p:nvPr/>
        </p:nvSpPr>
        <p:spPr bwMode="auto">
          <a:xfrm>
            <a:off x="384889" y="280929"/>
            <a:ext cx="504751" cy="432618"/>
          </a:xfrm>
          <a:custGeom>
            <a:avLst/>
            <a:gdLst/>
            <a:ahLst/>
            <a:cxnLst>
              <a:cxn ang="0">
                <a:pos x="178" y="307"/>
              </a:cxn>
              <a:cxn ang="0">
                <a:pos x="179" y="333"/>
              </a:cxn>
              <a:cxn ang="0">
                <a:pos x="183" y="352"/>
              </a:cxn>
              <a:cxn ang="0">
                <a:pos x="174" y="357"/>
              </a:cxn>
              <a:cxn ang="0">
                <a:pos x="7" y="241"/>
              </a:cxn>
              <a:cxn ang="0">
                <a:pos x="0" y="211"/>
              </a:cxn>
              <a:cxn ang="0">
                <a:pos x="4" y="188"/>
              </a:cxn>
              <a:cxn ang="0">
                <a:pos x="11" y="175"/>
              </a:cxn>
              <a:cxn ang="0">
                <a:pos x="19" y="177"/>
              </a:cxn>
              <a:cxn ang="0">
                <a:pos x="183" y="288"/>
              </a:cxn>
              <a:cxn ang="0">
                <a:pos x="183" y="294"/>
              </a:cxn>
              <a:cxn ang="0">
                <a:pos x="205" y="262"/>
              </a:cxn>
              <a:cxn ang="0">
                <a:pos x="198" y="254"/>
              </a:cxn>
              <a:cxn ang="0">
                <a:pos x="347" y="173"/>
              </a:cxn>
              <a:cxn ang="0">
                <a:pos x="356" y="174"/>
              </a:cxn>
              <a:cxn ang="0">
                <a:pos x="358" y="183"/>
              </a:cxn>
              <a:cxn ang="0">
                <a:pos x="211" y="260"/>
              </a:cxn>
              <a:cxn ang="0">
                <a:pos x="348" y="148"/>
              </a:cxn>
              <a:cxn ang="0">
                <a:pos x="344" y="144"/>
              </a:cxn>
              <a:cxn ang="0">
                <a:pos x="200" y="220"/>
              </a:cxn>
              <a:cxn ang="0">
                <a:pos x="204" y="222"/>
              </a:cxn>
              <a:cxn ang="0">
                <a:pos x="206" y="188"/>
              </a:cxn>
              <a:cxn ang="0">
                <a:pos x="348" y="117"/>
              </a:cxn>
              <a:cxn ang="0">
                <a:pos x="349" y="108"/>
              </a:cxn>
              <a:cxn ang="0">
                <a:pos x="38" y="66"/>
              </a:cxn>
              <a:cxn ang="0">
                <a:pos x="33" y="75"/>
              </a:cxn>
              <a:cxn ang="0">
                <a:pos x="37" y="81"/>
              </a:cxn>
              <a:cxn ang="0">
                <a:pos x="196" y="205"/>
              </a:cxn>
              <a:cxn ang="0">
                <a:pos x="195" y="197"/>
              </a:cxn>
              <a:cxn ang="0">
                <a:pos x="31" y="86"/>
              </a:cxn>
              <a:cxn ang="0">
                <a:pos x="22" y="88"/>
              </a:cxn>
              <a:cxn ang="0">
                <a:pos x="14" y="107"/>
              </a:cxn>
              <a:cxn ang="0">
                <a:pos x="13" y="131"/>
              </a:cxn>
              <a:cxn ang="0">
                <a:pos x="23" y="156"/>
              </a:cxn>
              <a:cxn ang="0">
                <a:pos x="191" y="268"/>
              </a:cxn>
              <a:cxn ang="0">
                <a:pos x="196" y="260"/>
              </a:cxn>
              <a:cxn ang="0">
                <a:pos x="189" y="231"/>
              </a:cxn>
              <a:cxn ang="0">
                <a:pos x="192" y="211"/>
              </a:cxn>
              <a:cxn ang="0">
                <a:pos x="342" y="277"/>
              </a:cxn>
              <a:cxn ang="0">
                <a:pos x="345" y="270"/>
              </a:cxn>
              <a:cxn ang="0">
                <a:pos x="340" y="262"/>
              </a:cxn>
              <a:cxn ang="0">
                <a:pos x="191" y="334"/>
              </a:cxn>
              <a:cxn ang="0">
                <a:pos x="187" y="346"/>
              </a:cxn>
              <a:cxn ang="0">
                <a:pos x="195" y="351"/>
              </a:cxn>
              <a:cxn ang="0">
                <a:pos x="334" y="239"/>
              </a:cxn>
              <a:cxn ang="0">
                <a:pos x="335" y="235"/>
              </a:cxn>
              <a:cxn ang="0">
                <a:pos x="188" y="306"/>
              </a:cxn>
              <a:cxn ang="0">
                <a:pos x="189" y="311"/>
              </a:cxn>
            </a:cxnLst>
            <a:rect l="0" t="0" r="r" b="b"/>
            <a:pathLst>
              <a:path w="358" h="357">
                <a:moveTo>
                  <a:pt x="183" y="294"/>
                </a:moveTo>
                <a:lnTo>
                  <a:pt x="183" y="294"/>
                </a:lnTo>
                <a:lnTo>
                  <a:pt x="180" y="301"/>
                </a:lnTo>
                <a:lnTo>
                  <a:pt x="178" y="307"/>
                </a:lnTo>
                <a:lnTo>
                  <a:pt x="176" y="313"/>
                </a:lnTo>
                <a:lnTo>
                  <a:pt x="176" y="320"/>
                </a:lnTo>
                <a:lnTo>
                  <a:pt x="176" y="320"/>
                </a:lnTo>
                <a:lnTo>
                  <a:pt x="179" y="333"/>
                </a:lnTo>
                <a:lnTo>
                  <a:pt x="183" y="346"/>
                </a:lnTo>
                <a:lnTo>
                  <a:pt x="183" y="346"/>
                </a:lnTo>
                <a:lnTo>
                  <a:pt x="183" y="348"/>
                </a:lnTo>
                <a:lnTo>
                  <a:pt x="183" y="352"/>
                </a:lnTo>
                <a:lnTo>
                  <a:pt x="180" y="355"/>
                </a:lnTo>
                <a:lnTo>
                  <a:pt x="178" y="356"/>
                </a:lnTo>
                <a:lnTo>
                  <a:pt x="178" y="356"/>
                </a:lnTo>
                <a:lnTo>
                  <a:pt x="174" y="357"/>
                </a:lnTo>
                <a:lnTo>
                  <a:pt x="170" y="355"/>
                </a:lnTo>
                <a:lnTo>
                  <a:pt x="10" y="245"/>
                </a:lnTo>
                <a:lnTo>
                  <a:pt x="10" y="245"/>
                </a:lnTo>
                <a:lnTo>
                  <a:pt x="7" y="241"/>
                </a:lnTo>
                <a:lnTo>
                  <a:pt x="7" y="241"/>
                </a:lnTo>
                <a:lnTo>
                  <a:pt x="2" y="227"/>
                </a:lnTo>
                <a:lnTo>
                  <a:pt x="1" y="219"/>
                </a:lnTo>
                <a:lnTo>
                  <a:pt x="0" y="211"/>
                </a:lnTo>
                <a:lnTo>
                  <a:pt x="0" y="211"/>
                </a:lnTo>
                <a:lnTo>
                  <a:pt x="0" y="204"/>
                </a:lnTo>
                <a:lnTo>
                  <a:pt x="1" y="196"/>
                </a:lnTo>
                <a:lnTo>
                  <a:pt x="4" y="188"/>
                </a:lnTo>
                <a:lnTo>
                  <a:pt x="6" y="179"/>
                </a:lnTo>
                <a:lnTo>
                  <a:pt x="6" y="179"/>
                </a:lnTo>
                <a:lnTo>
                  <a:pt x="9" y="177"/>
                </a:lnTo>
                <a:lnTo>
                  <a:pt x="11" y="175"/>
                </a:lnTo>
                <a:lnTo>
                  <a:pt x="15" y="174"/>
                </a:lnTo>
                <a:lnTo>
                  <a:pt x="18" y="175"/>
                </a:lnTo>
                <a:lnTo>
                  <a:pt x="18" y="175"/>
                </a:lnTo>
                <a:lnTo>
                  <a:pt x="19" y="177"/>
                </a:lnTo>
                <a:lnTo>
                  <a:pt x="180" y="284"/>
                </a:lnTo>
                <a:lnTo>
                  <a:pt x="180" y="284"/>
                </a:lnTo>
                <a:lnTo>
                  <a:pt x="182" y="285"/>
                </a:lnTo>
                <a:lnTo>
                  <a:pt x="183" y="288"/>
                </a:lnTo>
                <a:lnTo>
                  <a:pt x="183" y="291"/>
                </a:lnTo>
                <a:lnTo>
                  <a:pt x="183" y="294"/>
                </a:lnTo>
                <a:lnTo>
                  <a:pt x="183" y="294"/>
                </a:lnTo>
                <a:lnTo>
                  <a:pt x="183" y="294"/>
                </a:lnTo>
                <a:close/>
                <a:moveTo>
                  <a:pt x="211" y="260"/>
                </a:moveTo>
                <a:lnTo>
                  <a:pt x="211" y="260"/>
                </a:lnTo>
                <a:lnTo>
                  <a:pt x="207" y="262"/>
                </a:lnTo>
                <a:lnTo>
                  <a:pt x="205" y="262"/>
                </a:lnTo>
                <a:lnTo>
                  <a:pt x="201" y="259"/>
                </a:lnTo>
                <a:lnTo>
                  <a:pt x="200" y="257"/>
                </a:lnTo>
                <a:lnTo>
                  <a:pt x="200" y="257"/>
                </a:lnTo>
                <a:lnTo>
                  <a:pt x="198" y="254"/>
                </a:lnTo>
                <a:lnTo>
                  <a:pt x="198" y="250"/>
                </a:lnTo>
                <a:lnTo>
                  <a:pt x="201" y="248"/>
                </a:lnTo>
                <a:lnTo>
                  <a:pt x="204" y="245"/>
                </a:lnTo>
                <a:lnTo>
                  <a:pt x="347" y="173"/>
                </a:lnTo>
                <a:lnTo>
                  <a:pt x="347" y="173"/>
                </a:lnTo>
                <a:lnTo>
                  <a:pt x="349" y="173"/>
                </a:lnTo>
                <a:lnTo>
                  <a:pt x="353" y="173"/>
                </a:lnTo>
                <a:lnTo>
                  <a:pt x="356" y="174"/>
                </a:lnTo>
                <a:lnTo>
                  <a:pt x="358" y="177"/>
                </a:lnTo>
                <a:lnTo>
                  <a:pt x="358" y="177"/>
                </a:lnTo>
                <a:lnTo>
                  <a:pt x="358" y="180"/>
                </a:lnTo>
                <a:lnTo>
                  <a:pt x="358" y="183"/>
                </a:lnTo>
                <a:lnTo>
                  <a:pt x="357" y="187"/>
                </a:lnTo>
                <a:lnTo>
                  <a:pt x="355" y="188"/>
                </a:lnTo>
                <a:lnTo>
                  <a:pt x="211" y="260"/>
                </a:lnTo>
                <a:lnTo>
                  <a:pt x="211" y="260"/>
                </a:lnTo>
                <a:close/>
                <a:moveTo>
                  <a:pt x="204" y="222"/>
                </a:moveTo>
                <a:lnTo>
                  <a:pt x="347" y="149"/>
                </a:lnTo>
                <a:lnTo>
                  <a:pt x="347" y="149"/>
                </a:lnTo>
                <a:lnTo>
                  <a:pt x="348" y="148"/>
                </a:lnTo>
                <a:lnTo>
                  <a:pt x="348" y="146"/>
                </a:lnTo>
                <a:lnTo>
                  <a:pt x="348" y="146"/>
                </a:lnTo>
                <a:lnTo>
                  <a:pt x="347" y="144"/>
                </a:lnTo>
                <a:lnTo>
                  <a:pt x="344" y="144"/>
                </a:lnTo>
                <a:lnTo>
                  <a:pt x="201" y="217"/>
                </a:lnTo>
                <a:lnTo>
                  <a:pt x="201" y="217"/>
                </a:lnTo>
                <a:lnTo>
                  <a:pt x="200" y="219"/>
                </a:lnTo>
                <a:lnTo>
                  <a:pt x="200" y="220"/>
                </a:lnTo>
                <a:lnTo>
                  <a:pt x="200" y="220"/>
                </a:lnTo>
                <a:lnTo>
                  <a:pt x="201" y="222"/>
                </a:lnTo>
                <a:lnTo>
                  <a:pt x="204" y="222"/>
                </a:lnTo>
                <a:lnTo>
                  <a:pt x="204" y="222"/>
                </a:lnTo>
                <a:close/>
                <a:moveTo>
                  <a:pt x="197" y="188"/>
                </a:moveTo>
                <a:lnTo>
                  <a:pt x="197" y="188"/>
                </a:lnTo>
                <a:lnTo>
                  <a:pt x="202" y="190"/>
                </a:lnTo>
                <a:lnTo>
                  <a:pt x="206" y="188"/>
                </a:lnTo>
                <a:lnTo>
                  <a:pt x="206" y="188"/>
                </a:lnTo>
                <a:lnTo>
                  <a:pt x="345" y="120"/>
                </a:lnTo>
                <a:lnTo>
                  <a:pt x="345" y="120"/>
                </a:lnTo>
                <a:lnTo>
                  <a:pt x="348" y="117"/>
                </a:lnTo>
                <a:lnTo>
                  <a:pt x="351" y="115"/>
                </a:lnTo>
                <a:lnTo>
                  <a:pt x="351" y="111"/>
                </a:lnTo>
                <a:lnTo>
                  <a:pt x="349" y="108"/>
                </a:lnTo>
                <a:lnTo>
                  <a:pt x="349" y="108"/>
                </a:lnTo>
                <a:lnTo>
                  <a:pt x="348" y="106"/>
                </a:lnTo>
                <a:lnTo>
                  <a:pt x="347" y="104"/>
                </a:lnTo>
                <a:lnTo>
                  <a:pt x="185" y="0"/>
                </a:lnTo>
                <a:lnTo>
                  <a:pt x="38" y="66"/>
                </a:lnTo>
                <a:lnTo>
                  <a:pt x="38" y="66"/>
                </a:lnTo>
                <a:lnTo>
                  <a:pt x="36" y="68"/>
                </a:lnTo>
                <a:lnTo>
                  <a:pt x="35" y="71"/>
                </a:lnTo>
                <a:lnTo>
                  <a:pt x="33" y="75"/>
                </a:lnTo>
                <a:lnTo>
                  <a:pt x="35" y="77"/>
                </a:lnTo>
                <a:lnTo>
                  <a:pt x="35" y="77"/>
                </a:lnTo>
                <a:lnTo>
                  <a:pt x="37" y="81"/>
                </a:lnTo>
                <a:lnTo>
                  <a:pt x="37" y="81"/>
                </a:lnTo>
                <a:lnTo>
                  <a:pt x="197" y="188"/>
                </a:lnTo>
                <a:lnTo>
                  <a:pt x="197" y="188"/>
                </a:lnTo>
                <a:close/>
                <a:moveTo>
                  <a:pt x="196" y="205"/>
                </a:moveTo>
                <a:lnTo>
                  <a:pt x="196" y="205"/>
                </a:lnTo>
                <a:lnTo>
                  <a:pt x="196" y="205"/>
                </a:lnTo>
                <a:lnTo>
                  <a:pt x="196" y="202"/>
                </a:lnTo>
                <a:lnTo>
                  <a:pt x="196" y="200"/>
                </a:lnTo>
                <a:lnTo>
                  <a:pt x="195" y="197"/>
                </a:lnTo>
                <a:lnTo>
                  <a:pt x="192" y="195"/>
                </a:lnTo>
                <a:lnTo>
                  <a:pt x="32" y="88"/>
                </a:lnTo>
                <a:lnTo>
                  <a:pt x="32" y="88"/>
                </a:lnTo>
                <a:lnTo>
                  <a:pt x="31" y="86"/>
                </a:lnTo>
                <a:lnTo>
                  <a:pt x="31" y="86"/>
                </a:lnTo>
                <a:lnTo>
                  <a:pt x="28" y="86"/>
                </a:lnTo>
                <a:lnTo>
                  <a:pt x="24" y="86"/>
                </a:lnTo>
                <a:lnTo>
                  <a:pt x="22" y="88"/>
                </a:lnTo>
                <a:lnTo>
                  <a:pt x="19" y="90"/>
                </a:lnTo>
                <a:lnTo>
                  <a:pt x="19" y="90"/>
                </a:lnTo>
                <a:lnTo>
                  <a:pt x="16" y="99"/>
                </a:lnTo>
                <a:lnTo>
                  <a:pt x="14" y="107"/>
                </a:lnTo>
                <a:lnTo>
                  <a:pt x="13" y="116"/>
                </a:lnTo>
                <a:lnTo>
                  <a:pt x="13" y="124"/>
                </a:lnTo>
                <a:lnTo>
                  <a:pt x="13" y="124"/>
                </a:lnTo>
                <a:lnTo>
                  <a:pt x="13" y="131"/>
                </a:lnTo>
                <a:lnTo>
                  <a:pt x="15" y="138"/>
                </a:lnTo>
                <a:lnTo>
                  <a:pt x="20" y="152"/>
                </a:lnTo>
                <a:lnTo>
                  <a:pt x="20" y="152"/>
                </a:lnTo>
                <a:lnTo>
                  <a:pt x="23" y="156"/>
                </a:lnTo>
                <a:lnTo>
                  <a:pt x="183" y="266"/>
                </a:lnTo>
                <a:lnTo>
                  <a:pt x="183" y="266"/>
                </a:lnTo>
                <a:lnTo>
                  <a:pt x="187" y="268"/>
                </a:lnTo>
                <a:lnTo>
                  <a:pt x="191" y="268"/>
                </a:lnTo>
                <a:lnTo>
                  <a:pt x="191" y="268"/>
                </a:lnTo>
                <a:lnTo>
                  <a:pt x="193" y="266"/>
                </a:lnTo>
                <a:lnTo>
                  <a:pt x="196" y="263"/>
                </a:lnTo>
                <a:lnTo>
                  <a:pt x="196" y="260"/>
                </a:lnTo>
                <a:lnTo>
                  <a:pt x="196" y="257"/>
                </a:lnTo>
                <a:lnTo>
                  <a:pt x="196" y="257"/>
                </a:lnTo>
                <a:lnTo>
                  <a:pt x="192" y="244"/>
                </a:lnTo>
                <a:lnTo>
                  <a:pt x="189" y="231"/>
                </a:lnTo>
                <a:lnTo>
                  <a:pt x="189" y="231"/>
                </a:lnTo>
                <a:lnTo>
                  <a:pt x="189" y="224"/>
                </a:lnTo>
                <a:lnTo>
                  <a:pt x="191" y="218"/>
                </a:lnTo>
                <a:lnTo>
                  <a:pt x="192" y="211"/>
                </a:lnTo>
                <a:lnTo>
                  <a:pt x="196" y="205"/>
                </a:lnTo>
                <a:lnTo>
                  <a:pt x="196" y="205"/>
                </a:lnTo>
                <a:close/>
                <a:moveTo>
                  <a:pt x="198" y="350"/>
                </a:moveTo>
                <a:lnTo>
                  <a:pt x="342" y="277"/>
                </a:lnTo>
                <a:lnTo>
                  <a:pt x="342" y="277"/>
                </a:lnTo>
                <a:lnTo>
                  <a:pt x="344" y="275"/>
                </a:lnTo>
                <a:lnTo>
                  <a:pt x="345" y="272"/>
                </a:lnTo>
                <a:lnTo>
                  <a:pt x="345" y="270"/>
                </a:lnTo>
                <a:lnTo>
                  <a:pt x="345" y="266"/>
                </a:lnTo>
                <a:lnTo>
                  <a:pt x="345" y="266"/>
                </a:lnTo>
                <a:lnTo>
                  <a:pt x="343" y="263"/>
                </a:lnTo>
                <a:lnTo>
                  <a:pt x="340" y="262"/>
                </a:lnTo>
                <a:lnTo>
                  <a:pt x="336" y="260"/>
                </a:lnTo>
                <a:lnTo>
                  <a:pt x="334" y="262"/>
                </a:lnTo>
                <a:lnTo>
                  <a:pt x="191" y="334"/>
                </a:lnTo>
                <a:lnTo>
                  <a:pt x="191" y="334"/>
                </a:lnTo>
                <a:lnTo>
                  <a:pt x="188" y="337"/>
                </a:lnTo>
                <a:lnTo>
                  <a:pt x="187" y="339"/>
                </a:lnTo>
                <a:lnTo>
                  <a:pt x="185" y="342"/>
                </a:lnTo>
                <a:lnTo>
                  <a:pt x="187" y="346"/>
                </a:lnTo>
                <a:lnTo>
                  <a:pt x="187" y="346"/>
                </a:lnTo>
                <a:lnTo>
                  <a:pt x="189" y="348"/>
                </a:lnTo>
                <a:lnTo>
                  <a:pt x="192" y="350"/>
                </a:lnTo>
                <a:lnTo>
                  <a:pt x="195" y="351"/>
                </a:lnTo>
                <a:lnTo>
                  <a:pt x="198" y="350"/>
                </a:lnTo>
                <a:lnTo>
                  <a:pt x="198" y="350"/>
                </a:lnTo>
                <a:close/>
                <a:moveTo>
                  <a:pt x="191" y="311"/>
                </a:moveTo>
                <a:lnTo>
                  <a:pt x="334" y="239"/>
                </a:lnTo>
                <a:lnTo>
                  <a:pt x="334" y="239"/>
                </a:lnTo>
                <a:lnTo>
                  <a:pt x="335" y="237"/>
                </a:lnTo>
                <a:lnTo>
                  <a:pt x="335" y="235"/>
                </a:lnTo>
                <a:lnTo>
                  <a:pt x="335" y="235"/>
                </a:lnTo>
                <a:lnTo>
                  <a:pt x="334" y="233"/>
                </a:lnTo>
                <a:lnTo>
                  <a:pt x="331" y="233"/>
                </a:lnTo>
                <a:lnTo>
                  <a:pt x="188" y="306"/>
                </a:lnTo>
                <a:lnTo>
                  <a:pt x="188" y="306"/>
                </a:lnTo>
                <a:lnTo>
                  <a:pt x="187" y="307"/>
                </a:lnTo>
                <a:lnTo>
                  <a:pt x="187" y="310"/>
                </a:lnTo>
                <a:lnTo>
                  <a:pt x="187" y="310"/>
                </a:lnTo>
                <a:lnTo>
                  <a:pt x="189" y="311"/>
                </a:lnTo>
                <a:lnTo>
                  <a:pt x="191" y="311"/>
                </a:lnTo>
                <a:lnTo>
                  <a:pt x="191" y="311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>
              <a:solidFill>
                <a:schemeClr val="accent3"/>
              </a:solidFill>
            </a:endParaRPr>
          </a:p>
        </p:txBody>
      </p:sp>
      <p:sp>
        <p:nvSpPr>
          <p:cNvPr id="110" name="Овал 109"/>
          <p:cNvSpPr/>
          <p:nvPr/>
        </p:nvSpPr>
        <p:spPr>
          <a:xfrm>
            <a:off x="277575" y="140942"/>
            <a:ext cx="701952" cy="701952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85408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0" y="3"/>
            <a:ext cx="12192000" cy="1357291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ния УМК по биологии  для 5-9 классов (концентрический курс) И.Н. Пономаревой, В.М. Константинова и др</a:t>
            </a:r>
            <a:r>
              <a:rPr lang="ru-RU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2500" b="1" dirty="0">
                <a:solidFill>
                  <a:srgbClr val="00B05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ru-RU" sz="2500" b="1" dirty="0" smtClean="0">
                <a:solidFill>
                  <a:srgbClr val="00B05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/>
            </a:r>
            <a:br>
              <a:rPr lang="ru-RU" sz="2500" b="1" dirty="0" smtClean="0">
                <a:solidFill>
                  <a:srgbClr val="00B05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2500" b="1" dirty="0">
                <a:solidFill>
                  <a:srgbClr val="00B05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</a:t>
            </a:r>
            <a:r>
              <a:rPr lang="ru-RU" sz="2500" b="1" dirty="0" smtClean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.2.5.2.3.1-1.2.5.2.3.5</a:t>
            </a:r>
            <a:r>
              <a:rPr lang="ru-RU" sz="2500" b="1" dirty="0">
                <a:solidFill>
                  <a:srgbClr val="FFFF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</a:t>
            </a:r>
            <a:endParaRPr lang="ru-RU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442384498"/>
              </p:ext>
            </p:extLst>
          </p:nvPr>
        </p:nvGraphicFramePr>
        <p:xfrm>
          <a:off x="7" y="1315251"/>
          <a:ext cx="12192001" cy="62670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8399">
                  <a:extLst>
                    <a:ext uri="{9D8B030D-6E8A-4147-A177-3AD203B41FA5}">
                      <a16:colId xmlns:a16="http://schemas.microsoft.com/office/drawing/2014/main" xmlns="" val="3624382391"/>
                    </a:ext>
                  </a:extLst>
                </a:gridCol>
                <a:gridCol w="2138892">
                  <a:extLst>
                    <a:ext uri="{9D8B030D-6E8A-4147-A177-3AD203B41FA5}">
                      <a16:colId xmlns:a16="http://schemas.microsoft.com/office/drawing/2014/main" xmlns="" val="3984028178"/>
                    </a:ext>
                  </a:extLst>
                </a:gridCol>
                <a:gridCol w="1397000">
                  <a:extLst>
                    <a:ext uri="{9D8B030D-6E8A-4147-A177-3AD203B41FA5}">
                      <a16:colId xmlns:a16="http://schemas.microsoft.com/office/drawing/2014/main" xmlns="" val="2887604966"/>
                    </a:ext>
                  </a:extLst>
                </a:gridCol>
                <a:gridCol w="5064127">
                  <a:extLst>
                    <a:ext uri="{9D8B030D-6E8A-4147-A177-3AD203B41FA5}">
                      <a16:colId xmlns:a16="http://schemas.microsoft.com/office/drawing/2014/main" xmlns="" val="2796169498"/>
                    </a:ext>
                  </a:extLst>
                </a:gridCol>
                <a:gridCol w="1153583">
                  <a:extLst>
                    <a:ext uri="{9D8B030D-6E8A-4147-A177-3AD203B41FA5}">
                      <a16:colId xmlns:a16="http://schemas.microsoft.com/office/drawing/2014/main" xmlns="" val="1018559736"/>
                    </a:ext>
                  </a:extLst>
                </a:gridCol>
              </a:tblGrid>
              <a:tr h="43542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тор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звание 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новное содержание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асы в неделю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66060045"/>
                  </a:ext>
                </a:extLst>
              </a:tr>
              <a:tr h="1237875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класс</a:t>
                      </a:r>
                    </a:p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5.2.3.1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. Н. Пономарева И. В. Николаева </a:t>
                      </a:r>
                    </a:p>
                    <a:p>
                      <a:r>
                        <a:rPr lang="ru-RU" sz="18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. А. Корнилова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иология. 5 класс» 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ведение в биологию и содержит общие представления о разнообразных формах жизни на Земле, о взаимосвязях организмов и среды обитания, о роли человека в живой природе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час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9197408"/>
                  </a:ext>
                </a:extLst>
              </a:tr>
              <a:tr h="947977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6 класс</a:t>
                      </a:r>
                    </a:p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1.2.3.2.3.2</a:t>
                      </a:r>
                    </a:p>
                    <a:p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. Н. Пономарева </a:t>
                      </a:r>
                    </a:p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. А. Корнилова </a:t>
                      </a:r>
                    </a:p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. С. Кучменко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иология. 6 класс»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51515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Формируются понятия о многообразии  покрытосеменных растений, об особенностях и процессах жизнедеятельности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час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15757517"/>
                  </a:ext>
                </a:extLst>
              </a:tr>
              <a:tr h="947025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класс</a:t>
                      </a:r>
                    </a:p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3.2.3.3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. М. Константинов</a:t>
                      </a:r>
                    </a:p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. Г. Бабенко</a:t>
                      </a:r>
                    </a:p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. С. Кучменко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иология 7 класс»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51515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Формируются понятия о многообразии животных, среде их  обитания, образе жизни, биологических и экологических особенностях</a:t>
                      </a:r>
                    </a:p>
                    <a:p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46881766"/>
                  </a:ext>
                </a:extLst>
              </a:tr>
              <a:tr h="747713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8 класс</a:t>
                      </a:r>
                    </a:p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1.2.5.2.3.4</a:t>
                      </a:r>
                    </a:p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. Г. </a:t>
                      </a:r>
                      <a:r>
                        <a:rPr lang="ru-RU" sz="16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рагомилов</a:t>
                      </a:r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. Д. Маш</a:t>
                      </a:r>
                      <a:r>
                        <a:rPr lang="ru-RU" sz="2000" b="0" i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иология 8 класс»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51515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Формируются понятия о строении и функциях человеческого организма</a:t>
                      </a:r>
                    </a:p>
                    <a:p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66548977"/>
                  </a:ext>
                </a:extLst>
              </a:tr>
              <a:tr h="774383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класс</a:t>
                      </a:r>
                    </a:p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5.2.3.5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. Н. Пономарева</a:t>
                      </a:r>
                    </a:p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. А. Корнилова</a:t>
                      </a:r>
                    </a:p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. М. Чернова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Биология 9 класс»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общаются и углубляются ранее полученные знания об общих биологических закономерностях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000" dirty="0" smtClean="0"/>
                        <a:t/>
                      </a:r>
                      <a:br>
                        <a:rPr lang="ru-RU" sz="2000" dirty="0" smtClean="0"/>
                      </a:b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58589957"/>
                  </a:ext>
                </a:extLst>
              </a:tr>
            </a:tbl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40489" y="1336379"/>
            <a:ext cx="1119467" cy="1414764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6980" y="2751150"/>
            <a:ext cx="1079431" cy="138595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296385" y="3892969"/>
            <a:ext cx="1119467" cy="143872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" y="4957470"/>
            <a:ext cx="1106531" cy="140074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352279" y="6358114"/>
            <a:ext cx="1007684" cy="131401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838376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29879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Freeform 159"/>
          <p:cNvSpPr>
            <a:spLocks noEditPoints="1"/>
          </p:cNvSpPr>
          <p:nvPr/>
        </p:nvSpPr>
        <p:spPr bwMode="auto">
          <a:xfrm>
            <a:off x="384889" y="280929"/>
            <a:ext cx="504751" cy="432618"/>
          </a:xfrm>
          <a:custGeom>
            <a:avLst/>
            <a:gdLst/>
            <a:ahLst/>
            <a:cxnLst>
              <a:cxn ang="0">
                <a:pos x="178" y="307"/>
              </a:cxn>
              <a:cxn ang="0">
                <a:pos x="179" y="333"/>
              </a:cxn>
              <a:cxn ang="0">
                <a:pos x="183" y="352"/>
              </a:cxn>
              <a:cxn ang="0">
                <a:pos x="174" y="357"/>
              </a:cxn>
              <a:cxn ang="0">
                <a:pos x="7" y="241"/>
              </a:cxn>
              <a:cxn ang="0">
                <a:pos x="0" y="211"/>
              </a:cxn>
              <a:cxn ang="0">
                <a:pos x="4" y="188"/>
              </a:cxn>
              <a:cxn ang="0">
                <a:pos x="11" y="175"/>
              </a:cxn>
              <a:cxn ang="0">
                <a:pos x="19" y="177"/>
              </a:cxn>
              <a:cxn ang="0">
                <a:pos x="183" y="288"/>
              </a:cxn>
              <a:cxn ang="0">
                <a:pos x="183" y="294"/>
              </a:cxn>
              <a:cxn ang="0">
                <a:pos x="205" y="262"/>
              </a:cxn>
              <a:cxn ang="0">
                <a:pos x="198" y="254"/>
              </a:cxn>
              <a:cxn ang="0">
                <a:pos x="347" y="173"/>
              </a:cxn>
              <a:cxn ang="0">
                <a:pos x="356" y="174"/>
              </a:cxn>
              <a:cxn ang="0">
                <a:pos x="358" y="183"/>
              </a:cxn>
              <a:cxn ang="0">
                <a:pos x="211" y="260"/>
              </a:cxn>
              <a:cxn ang="0">
                <a:pos x="348" y="148"/>
              </a:cxn>
              <a:cxn ang="0">
                <a:pos x="344" y="144"/>
              </a:cxn>
              <a:cxn ang="0">
                <a:pos x="200" y="220"/>
              </a:cxn>
              <a:cxn ang="0">
                <a:pos x="204" y="222"/>
              </a:cxn>
              <a:cxn ang="0">
                <a:pos x="206" y="188"/>
              </a:cxn>
              <a:cxn ang="0">
                <a:pos x="348" y="117"/>
              </a:cxn>
              <a:cxn ang="0">
                <a:pos x="349" y="108"/>
              </a:cxn>
              <a:cxn ang="0">
                <a:pos x="38" y="66"/>
              </a:cxn>
              <a:cxn ang="0">
                <a:pos x="33" y="75"/>
              </a:cxn>
              <a:cxn ang="0">
                <a:pos x="37" y="81"/>
              </a:cxn>
              <a:cxn ang="0">
                <a:pos x="196" y="205"/>
              </a:cxn>
              <a:cxn ang="0">
                <a:pos x="195" y="197"/>
              </a:cxn>
              <a:cxn ang="0">
                <a:pos x="31" y="86"/>
              </a:cxn>
              <a:cxn ang="0">
                <a:pos x="22" y="88"/>
              </a:cxn>
              <a:cxn ang="0">
                <a:pos x="14" y="107"/>
              </a:cxn>
              <a:cxn ang="0">
                <a:pos x="13" y="131"/>
              </a:cxn>
              <a:cxn ang="0">
                <a:pos x="23" y="156"/>
              </a:cxn>
              <a:cxn ang="0">
                <a:pos x="191" y="268"/>
              </a:cxn>
              <a:cxn ang="0">
                <a:pos x="196" y="260"/>
              </a:cxn>
              <a:cxn ang="0">
                <a:pos x="189" y="231"/>
              </a:cxn>
              <a:cxn ang="0">
                <a:pos x="192" y="211"/>
              </a:cxn>
              <a:cxn ang="0">
                <a:pos x="342" y="277"/>
              </a:cxn>
              <a:cxn ang="0">
                <a:pos x="345" y="270"/>
              </a:cxn>
              <a:cxn ang="0">
                <a:pos x="340" y="262"/>
              </a:cxn>
              <a:cxn ang="0">
                <a:pos x="191" y="334"/>
              </a:cxn>
              <a:cxn ang="0">
                <a:pos x="187" y="346"/>
              </a:cxn>
              <a:cxn ang="0">
                <a:pos x="195" y="351"/>
              </a:cxn>
              <a:cxn ang="0">
                <a:pos x="334" y="239"/>
              </a:cxn>
              <a:cxn ang="0">
                <a:pos x="335" y="235"/>
              </a:cxn>
              <a:cxn ang="0">
                <a:pos x="188" y="306"/>
              </a:cxn>
              <a:cxn ang="0">
                <a:pos x="189" y="311"/>
              </a:cxn>
            </a:cxnLst>
            <a:rect l="0" t="0" r="r" b="b"/>
            <a:pathLst>
              <a:path w="358" h="357">
                <a:moveTo>
                  <a:pt x="183" y="294"/>
                </a:moveTo>
                <a:lnTo>
                  <a:pt x="183" y="294"/>
                </a:lnTo>
                <a:lnTo>
                  <a:pt x="180" y="301"/>
                </a:lnTo>
                <a:lnTo>
                  <a:pt x="178" y="307"/>
                </a:lnTo>
                <a:lnTo>
                  <a:pt x="176" y="313"/>
                </a:lnTo>
                <a:lnTo>
                  <a:pt x="176" y="320"/>
                </a:lnTo>
                <a:lnTo>
                  <a:pt x="176" y="320"/>
                </a:lnTo>
                <a:lnTo>
                  <a:pt x="179" y="333"/>
                </a:lnTo>
                <a:lnTo>
                  <a:pt x="183" y="346"/>
                </a:lnTo>
                <a:lnTo>
                  <a:pt x="183" y="346"/>
                </a:lnTo>
                <a:lnTo>
                  <a:pt x="183" y="348"/>
                </a:lnTo>
                <a:lnTo>
                  <a:pt x="183" y="352"/>
                </a:lnTo>
                <a:lnTo>
                  <a:pt x="180" y="355"/>
                </a:lnTo>
                <a:lnTo>
                  <a:pt x="178" y="356"/>
                </a:lnTo>
                <a:lnTo>
                  <a:pt x="178" y="356"/>
                </a:lnTo>
                <a:lnTo>
                  <a:pt x="174" y="357"/>
                </a:lnTo>
                <a:lnTo>
                  <a:pt x="170" y="355"/>
                </a:lnTo>
                <a:lnTo>
                  <a:pt x="10" y="245"/>
                </a:lnTo>
                <a:lnTo>
                  <a:pt x="10" y="245"/>
                </a:lnTo>
                <a:lnTo>
                  <a:pt x="7" y="241"/>
                </a:lnTo>
                <a:lnTo>
                  <a:pt x="7" y="241"/>
                </a:lnTo>
                <a:lnTo>
                  <a:pt x="2" y="227"/>
                </a:lnTo>
                <a:lnTo>
                  <a:pt x="1" y="219"/>
                </a:lnTo>
                <a:lnTo>
                  <a:pt x="0" y="211"/>
                </a:lnTo>
                <a:lnTo>
                  <a:pt x="0" y="211"/>
                </a:lnTo>
                <a:lnTo>
                  <a:pt x="0" y="204"/>
                </a:lnTo>
                <a:lnTo>
                  <a:pt x="1" y="196"/>
                </a:lnTo>
                <a:lnTo>
                  <a:pt x="4" y="188"/>
                </a:lnTo>
                <a:lnTo>
                  <a:pt x="6" y="179"/>
                </a:lnTo>
                <a:lnTo>
                  <a:pt x="6" y="179"/>
                </a:lnTo>
                <a:lnTo>
                  <a:pt x="9" y="177"/>
                </a:lnTo>
                <a:lnTo>
                  <a:pt x="11" y="175"/>
                </a:lnTo>
                <a:lnTo>
                  <a:pt x="15" y="174"/>
                </a:lnTo>
                <a:lnTo>
                  <a:pt x="18" y="175"/>
                </a:lnTo>
                <a:lnTo>
                  <a:pt x="18" y="175"/>
                </a:lnTo>
                <a:lnTo>
                  <a:pt x="19" y="177"/>
                </a:lnTo>
                <a:lnTo>
                  <a:pt x="180" y="284"/>
                </a:lnTo>
                <a:lnTo>
                  <a:pt x="180" y="284"/>
                </a:lnTo>
                <a:lnTo>
                  <a:pt x="182" y="285"/>
                </a:lnTo>
                <a:lnTo>
                  <a:pt x="183" y="288"/>
                </a:lnTo>
                <a:lnTo>
                  <a:pt x="183" y="291"/>
                </a:lnTo>
                <a:lnTo>
                  <a:pt x="183" y="294"/>
                </a:lnTo>
                <a:lnTo>
                  <a:pt x="183" y="294"/>
                </a:lnTo>
                <a:lnTo>
                  <a:pt x="183" y="294"/>
                </a:lnTo>
                <a:close/>
                <a:moveTo>
                  <a:pt x="211" y="260"/>
                </a:moveTo>
                <a:lnTo>
                  <a:pt x="211" y="260"/>
                </a:lnTo>
                <a:lnTo>
                  <a:pt x="207" y="262"/>
                </a:lnTo>
                <a:lnTo>
                  <a:pt x="205" y="262"/>
                </a:lnTo>
                <a:lnTo>
                  <a:pt x="201" y="259"/>
                </a:lnTo>
                <a:lnTo>
                  <a:pt x="200" y="257"/>
                </a:lnTo>
                <a:lnTo>
                  <a:pt x="200" y="257"/>
                </a:lnTo>
                <a:lnTo>
                  <a:pt x="198" y="254"/>
                </a:lnTo>
                <a:lnTo>
                  <a:pt x="198" y="250"/>
                </a:lnTo>
                <a:lnTo>
                  <a:pt x="201" y="248"/>
                </a:lnTo>
                <a:lnTo>
                  <a:pt x="204" y="245"/>
                </a:lnTo>
                <a:lnTo>
                  <a:pt x="347" y="173"/>
                </a:lnTo>
                <a:lnTo>
                  <a:pt x="347" y="173"/>
                </a:lnTo>
                <a:lnTo>
                  <a:pt x="349" y="173"/>
                </a:lnTo>
                <a:lnTo>
                  <a:pt x="353" y="173"/>
                </a:lnTo>
                <a:lnTo>
                  <a:pt x="356" y="174"/>
                </a:lnTo>
                <a:lnTo>
                  <a:pt x="358" y="177"/>
                </a:lnTo>
                <a:lnTo>
                  <a:pt x="358" y="177"/>
                </a:lnTo>
                <a:lnTo>
                  <a:pt x="358" y="180"/>
                </a:lnTo>
                <a:lnTo>
                  <a:pt x="358" y="183"/>
                </a:lnTo>
                <a:lnTo>
                  <a:pt x="357" y="187"/>
                </a:lnTo>
                <a:lnTo>
                  <a:pt x="355" y="188"/>
                </a:lnTo>
                <a:lnTo>
                  <a:pt x="211" y="260"/>
                </a:lnTo>
                <a:lnTo>
                  <a:pt x="211" y="260"/>
                </a:lnTo>
                <a:close/>
                <a:moveTo>
                  <a:pt x="204" y="222"/>
                </a:moveTo>
                <a:lnTo>
                  <a:pt x="347" y="149"/>
                </a:lnTo>
                <a:lnTo>
                  <a:pt x="347" y="149"/>
                </a:lnTo>
                <a:lnTo>
                  <a:pt x="348" y="148"/>
                </a:lnTo>
                <a:lnTo>
                  <a:pt x="348" y="146"/>
                </a:lnTo>
                <a:lnTo>
                  <a:pt x="348" y="146"/>
                </a:lnTo>
                <a:lnTo>
                  <a:pt x="347" y="144"/>
                </a:lnTo>
                <a:lnTo>
                  <a:pt x="344" y="144"/>
                </a:lnTo>
                <a:lnTo>
                  <a:pt x="201" y="217"/>
                </a:lnTo>
                <a:lnTo>
                  <a:pt x="201" y="217"/>
                </a:lnTo>
                <a:lnTo>
                  <a:pt x="200" y="219"/>
                </a:lnTo>
                <a:lnTo>
                  <a:pt x="200" y="220"/>
                </a:lnTo>
                <a:lnTo>
                  <a:pt x="200" y="220"/>
                </a:lnTo>
                <a:lnTo>
                  <a:pt x="201" y="222"/>
                </a:lnTo>
                <a:lnTo>
                  <a:pt x="204" y="222"/>
                </a:lnTo>
                <a:lnTo>
                  <a:pt x="204" y="222"/>
                </a:lnTo>
                <a:close/>
                <a:moveTo>
                  <a:pt x="197" y="188"/>
                </a:moveTo>
                <a:lnTo>
                  <a:pt x="197" y="188"/>
                </a:lnTo>
                <a:lnTo>
                  <a:pt x="202" y="190"/>
                </a:lnTo>
                <a:lnTo>
                  <a:pt x="206" y="188"/>
                </a:lnTo>
                <a:lnTo>
                  <a:pt x="206" y="188"/>
                </a:lnTo>
                <a:lnTo>
                  <a:pt x="345" y="120"/>
                </a:lnTo>
                <a:lnTo>
                  <a:pt x="345" y="120"/>
                </a:lnTo>
                <a:lnTo>
                  <a:pt x="348" y="117"/>
                </a:lnTo>
                <a:lnTo>
                  <a:pt x="351" y="115"/>
                </a:lnTo>
                <a:lnTo>
                  <a:pt x="351" y="111"/>
                </a:lnTo>
                <a:lnTo>
                  <a:pt x="349" y="108"/>
                </a:lnTo>
                <a:lnTo>
                  <a:pt x="349" y="108"/>
                </a:lnTo>
                <a:lnTo>
                  <a:pt x="348" y="106"/>
                </a:lnTo>
                <a:lnTo>
                  <a:pt x="347" y="104"/>
                </a:lnTo>
                <a:lnTo>
                  <a:pt x="185" y="0"/>
                </a:lnTo>
                <a:lnTo>
                  <a:pt x="38" y="66"/>
                </a:lnTo>
                <a:lnTo>
                  <a:pt x="38" y="66"/>
                </a:lnTo>
                <a:lnTo>
                  <a:pt x="36" y="68"/>
                </a:lnTo>
                <a:lnTo>
                  <a:pt x="35" y="71"/>
                </a:lnTo>
                <a:lnTo>
                  <a:pt x="33" y="75"/>
                </a:lnTo>
                <a:lnTo>
                  <a:pt x="35" y="77"/>
                </a:lnTo>
                <a:lnTo>
                  <a:pt x="35" y="77"/>
                </a:lnTo>
                <a:lnTo>
                  <a:pt x="37" y="81"/>
                </a:lnTo>
                <a:lnTo>
                  <a:pt x="37" y="81"/>
                </a:lnTo>
                <a:lnTo>
                  <a:pt x="197" y="188"/>
                </a:lnTo>
                <a:lnTo>
                  <a:pt x="197" y="188"/>
                </a:lnTo>
                <a:close/>
                <a:moveTo>
                  <a:pt x="196" y="205"/>
                </a:moveTo>
                <a:lnTo>
                  <a:pt x="196" y="205"/>
                </a:lnTo>
                <a:lnTo>
                  <a:pt x="196" y="205"/>
                </a:lnTo>
                <a:lnTo>
                  <a:pt x="196" y="202"/>
                </a:lnTo>
                <a:lnTo>
                  <a:pt x="196" y="200"/>
                </a:lnTo>
                <a:lnTo>
                  <a:pt x="195" y="197"/>
                </a:lnTo>
                <a:lnTo>
                  <a:pt x="192" y="195"/>
                </a:lnTo>
                <a:lnTo>
                  <a:pt x="32" y="88"/>
                </a:lnTo>
                <a:lnTo>
                  <a:pt x="32" y="88"/>
                </a:lnTo>
                <a:lnTo>
                  <a:pt x="31" y="86"/>
                </a:lnTo>
                <a:lnTo>
                  <a:pt x="31" y="86"/>
                </a:lnTo>
                <a:lnTo>
                  <a:pt x="28" y="86"/>
                </a:lnTo>
                <a:lnTo>
                  <a:pt x="24" y="86"/>
                </a:lnTo>
                <a:lnTo>
                  <a:pt x="22" y="88"/>
                </a:lnTo>
                <a:lnTo>
                  <a:pt x="19" y="90"/>
                </a:lnTo>
                <a:lnTo>
                  <a:pt x="19" y="90"/>
                </a:lnTo>
                <a:lnTo>
                  <a:pt x="16" y="99"/>
                </a:lnTo>
                <a:lnTo>
                  <a:pt x="14" y="107"/>
                </a:lnTo>
                <a:lnTo>
                  <a:pt x="13" y="116"/>
                </a:lnTo>
                <a:lnTo>
                  <a:pt x="13" y="124"/>
                </a:lnTo>
                <a:lnTo>
                  <a:pt x="13" y="124"/>
                </a:lnTo>
                <a:lnTo>
                  <a:pt x="13" y="131"/>
                </a:lnTo>
                <a:lnTo>
                  <a:pt x="15" y="138"/>
                </a:lnTo>
                <a:lnTo>
                  <a:pt x="20" y="152"/>
                </a:lnTo>
                <a:lnTo>
                  <a:pt x="20" y="152"/>
                </a:lnTo>
                <a:lnTo>
                  <a:pt x="23" y="156"/>
                </a:lnTo>
                <a:lnTo>
                  <a:pt x="183" y="266"/>
                </a:lnTo>
                <a:lnTo>
                  <a:pt x="183" y="266"/>
                </a:lnTo>
                <a:lnTo>
                  <a:pt x="187" y="268"/>
                </a:lnTo>
                <a:lnTo>
                  <a:pt x="191" y="268"/>
                </a:lnTo>
                <a:lnTo>
                  <a:pt x="191" y="268"/>
                </a:lnTo>
                <a:lnTo>
                  <a:pt x="193" y="266"/>
                </a:lnTo>
                <a:lnTo>
                  <a:pt x="196" y="263"/>
                </a:lnTo>
                <a:lnTo>
                  <a:pt x="196" y="260"/>
                </a:lnTo>
                <a:lnTo>
                  <a:pt x="196" y="257"/>
                </a:lnTo>
                <a:lnTo>
                  <a:pt x="196" y="257"/>
                </a:lnTo>
                <a:lnTo>
                  <a:pt x="192" y="244"/>
                </a:lnTo>
                <a:lnTo>
                  <a:pt x="189" y="231"/>
                </a:lnTo>
                <a:lnTo>
                  <a:pt x="189" y="231"/>
                </a:lnTo>
                <a:lnTo>
                  <a:pt x="189" y="224"/>
                </a:lnTo>
                <a:lnTo>
                  <a:pt x="191" y="218"/>
                </a:lnTo>
                <a:lnTo>
                  <a:pt x="192" y="211"/>
                </a:lnTo>
                <a:lnTo>
                  <a:pt x="196" y="205"/>
                </a:lnTo>
                <a:lnTo>
                  <a:pt x="196" y="205"/>
                </a:lnTo>
                <a:close/>
                <a:moveTo>
                  <a:pt x="198" y="350"/>
                </a:moveTo>
                <a:lnTo>
                  <a:pt x="342" y="277"/>
                </a:lnTo>
                <a:lnTo>
                  <a:pt x="342" y="277"/>
                </a:lnTo>
                <a:lnTo>
                  <a:pt x="344" y="275"/>
                </a:lnTo>
                <a:lnTo>
                  <a:pt x="345" y="272"/>
                </a:lnTo>
                <a:lnTo>
                  <a:pt x="345" y="270"/>
                </a:lnTo>
                <a:lnTo>
                  <a:pt x="345" y="266"/>
                </a:lnTo>
                <a:lnTo>
                  <a:pt x="345" y="266"/>
                </a:lnTo>
                <a:lnTo>
                  <a:pt x="343" y="263"/>
                </a:lnTo>
                <a:lnTo>
                  <a:pt x="340" y="262"/>
                </a:lnTo>
                <a:lnTo>
                  <a:pt x="336" y="260"/>
                </a:lnTo>
                <a:lnTo>
                  <a:pt x="334" y="262"/>
                </a:lnTo>
                <a:lnTo>
                  <a:pt x="191" y="334"/>
                </a:lnTo>
                <a:lnTo>
                  <a:pt x="191" y="334"/>
                </a:lnTo>
                <a:lnTo>
                  <a:pt x="188" y="337"/>
                </a:lnTo>
                <a:lnTo>
                  <a:pt x="187" y="339"/>
                </a:lnTo>
                <a:lnTo>
                  <a:pt x="185" y="342"/>
                </a:lnTo>
                <a:lnTo>
                  <a:pt x="187" y="346"/>
                </a:lnTo>
                <a:lnTo>
                  <a:pt x="187" y="346"/>
                </a:lnTo>
                <a:lnTo>
                  <a:pt x="189" y="348"/>
                </a:lnTo>
                <a:lnTo>
                  <a:pt x="192" y="350"/>
                </a:lnTo>
                <a:lnTo>
                  <a:pt x="195" y="351"/>
                </a:lnTo>
                <a:lnTo>
                  <a:pt x="198" y="350"/>
                </a:lnTo>
                <a:lnTo>
                  <a:pt x="198" y="350"/>
                </a:lnTo>
                <a:close/>
                <a:moveTo>
                  <a:pt x="191" y="311"/>
                </a:moveTo>
                <a:lnTo>
                  <a:pt x="334" y="239"/>
                </a:lnTo>
                <a:lnTo>
                  <a:pt x="334" y="239"/>
                </a:lnTo>
                <a:lnTo>
                  <a:pt x="335" y="237"/>
                </a:lnTo>
                <a:lnTo>
                  <a:pt x="335" y="235"/>
                </a:lnTo>
                <a:lnTo>
                  <a:pt x="335" y="235"/>
                </a:lnTo>
                <a:lnTo>
                  <a:pt x="334" y="233"/>
                </a:lnTo>
                <a:lnTo>
                  <a:pt x="331" y="233"/>
                </a:lnTo>
                <a:lnTo>
                  <a:pt x="188" y="306"/>
                </a:lnTo>
                <a:lnTo>
                  <a:pt x="188" y="306"/>
                </a:lnTo>
                <a:lnTo>
                  <a:pt x="187" y="307"/>
                </a:lnTo>
                <a:lnTo>
                  <a:pt x="187" y="310"/>
                </a:lnTo>
                <a:lnTo>
                  <a:pt x="187" y="310"/>
                </a:lnTo>
                <a:lnTo>
                  <a:pt x="189" y="311"/>
                </a:lnTo>
                <a:lnTo>
                  <a:pt x="191" y="311"/>
                </a:lnTo>
                <a:lnTo>
                  <a:pt x="191" y="311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>
              <a:solidFill>
                <a:schemeClr val="accent3"/>
              </a:solidFill>
            </a:endParaRPr>
          </a:p>
        </p:txBody>
      </p:sp>
      <p:sp>
        <p:nvSpPr>
          <p:cNvPr id="26" name="Линия"/>
          <p:cNvSpPr>
            <a:spLocks/>
          </p:cNvSpPr>
          <p:nvPr/>
        </p:nvSpPr>
        <p:spPr>
          <a:xfrm flipV="1">
            <a:off x="4276349" y="1075484"/>
            <a:ext cx="1667" cy="5031677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11" name="Текст 27"/>
          <p:cNvSpPr txBox="1">
            <a:spLocks/>
          </p:cNvSpPr>
          <p:nvPr/>
        </p:nvSpPr>
        <p:spPr>
          <a:xfrm>
            <a:off x="334433" y="6195252"/>
            <a:ext cx="11520000" cy="28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 </a:t>
            </a:r>
            <a:endParaRPr lang="ru-RU" dirty="0"/>
          </a:p>
        </p:txBody>
      </p:sp>
      <p:sp>
        <p:nvSpPr>
          <p:cNvPr id="37" name="Линия"/>
          <p:cNvSpPr/>
          <p:nvPr/>
        </p:nvSpPr>
        <p:spPr>
          <a:xfrm flipV="1">
            <a:off x="722979" y="1466195"/>
            <a:ext cx="11208612" cy="38322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40" name="Рабочая тетрадь"/>
          <p:cNvSpPr txBox="1"/>
          <p:nvPr/>
        </p:nvSpPr>
        <p:spPr>
          <a:xfrm>
            <a:off x="1997400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>
                <a:solidFill>
                  <a:srgbClr val="2D3494"/>
                </a:solidFill>
                <a:latin typeface="+mn-lt"/>
              </a:rPr>
              <a:t>5</a:t>
            </a:r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2" name="Рабочая тетрадь"/>
          <p:cNvSpPr txBox="1"/>
          <p:nvPr/>
        </p:nvSpPr>
        <p:spPr>
          <a:xfrm>
            <a:off x="319195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6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3" name="Рабочая тетрадь"/>
          <p:cNvSpPr txBox="1"/>
          <p:nvPr/>
        </p:nvSpPr>
        <p:spPr>
          <a:xfrm>
            <a:off x="4211853" y="114303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7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4" name="Рабочая тетрадь"/>
          <p:cNvSpPr txBox="1"/>
          <p:nvPr/>
        </p:nvSpPr>
        <p:spPr>
          <a:xfrm>
            <a:off x="5339421" y="1132942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8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6" name="Рабочая тетрадь"/>
          <p:cNvSpPr txBox="1"/>
          <p:nvPr/>
        </p:nvSpPr>
        <p:spPr>
          <a:xfrm>
            <a:off x="6372880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9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8" name="Рабочая тетрадь"/>
          <p:cNvSpPr txBox="1"/>
          <p:nvPr/>
        </p:nvSpPr>
        <p:spPr>
          <a:xfrm>
            <a:off x="7938091" y="114298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0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0" name="Рабочая тетрадь"/>
          <p:cNvSpPr txBox="1"/>
          <p:nvPr/>
        </p:nvSpPr>
        <p:spPr>
          <a:xfrm>
            <a:off x="10246931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1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3" name="Линия"/>
          <p:cNvSpPr>
            <a:spLocks/>
          </p:cNvSpPr>
          <p:nvPr/>
        </p:nvSpPr>
        <p:spPr>
          <a:xfrm flipH="1" flipV="1">
            <a:off x="1729019" y="1061645"/>
            <a:ext cx="6264" cy="5294045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9" name="Линия"/>
          <p:cNvSpPr>
            <a:spLocks/>
          </p:cNvSpPr>
          <p:nvPr/>
        </p:nvSpPr>
        <p:spPr>
          <a:xfrm flipH="1" flipV="1">
            <a:off x="11617800" y="108790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6" name="Линия"/>
          <p:cNvSpPr>
            <a:spLocks/>
          </p:cNvSpPr>
          <p:nvPr/>
        </p:nvSpPr>
        <p:spPr>
          <a:xfrm flipH="1" flipV="1">
            <a:off x="9576596" y="1124202"/>
            <a:ext cx="18833" cy="4185883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3" name="Линия"/>
          <p:cNvSpPr>
            <a:spLocks/>
          </p:cNvSpPr>
          <p:nvPr/>
        </p:nvSpPr>
        <p:spPr>
          <a:xfrm flipH="1" flipV="1">
            <a:off x="2963081" y="1124199"/>
            <a:ext cx="7723" cy="4207228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086776" y="96633"/>
            <a:ext cx="9002149" cy="4050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>
                <a:solidFill>
                  <a:srgbClr val="2D3494"/>
                </a:solidFill>
                <a:ea typeface="+mj-ea"/>
                <a:cs typeface="Calibri" panose="020F0502020204030204" pitchFamily="34" charset="0"/>
              </a:rPr>
              <a:t>КОМПОНЕНТЫ </a:t>
            </a:r>
            <a:r>
              <a:rPr lang="ru-RU" sz="2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ЛИНИИ </a:t>
            </a:r>
            <a:r>
              <a:rPr lang="ru-RU" sz="2400" b="1" dirty="0">
                <a:solidFill>
                  <a:srgbClr val="2D3494"/>
                </a:solidFill>
                <a:cs typeface="Calibri" panose="020F0502020204030204" pitchFamily="34" charset="0"/>
              </a:rPr>
              <a:t>УМК </a:t>
            </a:r>
            <a:r>
              <a:rPr lang="ru-RU" sz="2400" b="1" dirty="0" smtClean="0">
                <a:solidFill>
                  <a:srgbClr val="EB2049"/>
                </a:solidFill>
                <a:cs typeface="Calibri" panose="020F0502020204030204" pitchFamily="34" charset="0"/>
              </a:rPr>
              <a:t>ПОНОМАРЕВОЙ И.Н. (концентрический курс) </a:t>
            </a:r>
            <a:endParaRPr lang="ru-RU" sz="2400" b="1" dirty="0">
              <a:solidFill>
                <a:srgbClr val="EB2049"/>
              </a:solidFill>
              <a:ea typeface="+mj-ea"/>
              <a:cs typeface="Calibri" panose="020F0502020204030204" pitchFamily="34" charset="0"/>
            </a:endParaRP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125849" y="1541581"/>
            <a:ext cx="714883" cy="936000"/>
          </a:xfrm>
          <a:prstGeom prst="rect">
            <a:avLst/>
          </a:prstGeom>
        </p:spPr>
      </p:pic>
      <p:sp>
        <p:nvSpPr>
          <p:cNvPr id="58" name="Рабочая тетрадь"/>
          <p:cNvSpPr txBox="1"/>
          <p:nvPr/>
        </p:nvSpPr>
        <p:spPr>
          <a:xfrm>
            <a:off x="723024" y="1862106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Рабочие тетради 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61" name="Рабочая тетрадь"/>
          <p:cNvSpPr txBox="1"/>
          <p:nvPr/>
        </p:nvSpPr>
        <p:spPr>
          <a:xfrm>
            <a:off x="723024" y="2951209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Методические пособия 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024372" y="1541581"/>
            <a:ext cx="720829" cy="936000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073047" y="1745529"/>
            <a:ext cx="717028" cy="936000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185443" y="1541580"/>
            <a:ext cx="724644" cy="936000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117792" y="1745530"/>
            <a:ext cx="715431" cy="936000"/>
          </a:xfrm>
          <a:prstGeom prst="rect">
            <a:avLst/>
          </a:prstGeom>
        </p:spPr>
      </p:pic>
      <p:pic>
        <p:nvPicPr>
          <p:cNvPr id="67" name="Рисунок 66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288187" y="1541581"/>
            <a:ext cx="716524" cy="936000"/>
          </a:xfrm>
          <a:prstGeom prst="rect">
            <a:avLst/>
          </a:prstGeom>
        </p:spPr>
      </p:pic>
      <p:pic>
        <p:nvPicPr>
          <p:cNvPr id="71" name="Рисунок 70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5198089" y="1745529"/>
            <a:ext cx="724159" cy="936000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6402027" y="1541580"/>
            <a:ext cx="718096" cy="936000"/>
          </a:xfrm>
          <a:prstGeom prst="rect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2024371" y="2717216"/>
            <a:ext cx="716956" cy="936000"/>
          </a:xfrm>
          <a:prstGeom prst="rect">
            <a:avLst/>
          </a:prstGeom>
        </p:spPr>
      </p:pic>
      <p:pic>
        <p:nvPicPr>
          <p:cNvPr id="75" name="Рисунок 74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3121340" y="2717216"/>
            <a:ext cx="715663" cy="936000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6402044" y="2717216"/>
            <a:ext cx="718095" cy="936000"/>
          </a:xfrm>
          <a:prstGeom prst="rect">
            <a:avLst/>
          </a:prstGeom>
        </p:spPr>
      </p:pic>
      <p:sp>
        <p:nvSpPr>
          <p:cNvPr id="78" name="Рабочая тетрадь"/>
          <p:cNvSpPr txBox="1"/>
          <p:nvPr/>
        </p:nvSpPr>
        <p:spPr>
          <a:xfrm>
            <a:off x="723024" y="4132331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Тестовые задания 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pic>
        <p:nvPicPr>
          <p:cNvPr id="79" name="Рисунок 78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3107790" y="3772535"/>
            <a:ext cx="729223" cy="936000"/>
          </a:xfrm>
          <a:prstGeom prst="rect">
            <a:avLst/>
          </a:prstGeom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4217881" y="3772535"/>
            <a:ext cx="659903" cy="936000"/>
          </a:xfrm>
          <a:prstGeom prst="rect">
            <a:avLst/>
          </a:prstGeom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6402044" y="3759037"/>
            <a:ext cx="718095" cy="936000"/>
          </a:xfrm>
          <a:prstGeom prst="rect">
            <a:avLst/>
          </a:prstGeom>
        </p:spPr>
      </p:pic>
      <p:pic>
        <p:nvPicPr>
          <p:cNvPr id="82" name="Picture 3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476485" y="2717216"/>
            <a:ext cx="709075" cy="93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" name="Picture 4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9811868" y="1541579"/>
            <a:ext cx="713753" cy="93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5" name="Рабочая тетрадь"/>
          <p:cNvSpPr txBox="1"/>
          <p:nvPr/>
        </p:nvSpPr>
        <p:spPr>
          <a:xfrm>
            <a:off x="723024" y="5785891"/>
            <a:ext cx="1109479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Программы</a:t>
            </a: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4200429" y="5376105"/>
            <a:ext cx="687075" cy="910519"/>
          </a:xfrm>
          <a:prstGeom prst="rect">
            <a:avLst/>
          </a:prstGeom>
        </p:spPr>
      </p:pic>
      <p:pic>
        <p:nvPicPr>
          <p:cNvPr id="87" name="Picture 4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23045" y="5209721"/>
            <a:ext cx="688247" cy="232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8" name="Рабочая тетрадь"/>
          <p:cNvSpPr txBox="1"/>
          <p:nvPr/>
        </p:nvSpPr>
        <p:spPr>
          <a:xfrm>
            <a:off x="723024" y="5034811"/>
            <a:ext cx="1109479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ЭФУ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grpSp>
        <p:nvGrpSpPr>
          <p:cNvPr id="89" name="Group 81"/>
          <p:cNvGrpSpPr/>
          <p:nvPr/>
        </p:nvGrpSpPr>
        <p:grpSpPr>
          <a:xfrm>
            <a:off x="2143515" y="4774435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90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1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2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93" name="Group 81"/>
          <p:cNvGrpSpPr/>
          <p:nvPr/>
        </p:nvGrpSpPr>
        <p:grpSpPr>
          <a:xfrm>
            <a:off x="3242023" y="4774435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94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5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6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97" name="Group 81"/>
          <p:cNvGrpSpPr/>
          <p:nvPr/>
        </p:nvGrpSpPr>
        <p:grpSpPr>
          <a:xfrm>
            <a:off x="4306495" y="4774435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98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9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0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01" name="Group 81"/>
          <p:cNvGrpSpPr/>
          <p:nvPr/>
        </p:nvGrpSpPr>
        <p:grpSpPr>
          <a:xfrm>
            <a:off x="5405179" y="4752231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02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3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4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05" name="Group 81"/>
          <p:cNvGrpSpPr/>
          <p:nvPr/>
        </p:nvGrpSpPr>
        <p:grpSpPr>
          <a:xfrm>
            <a:off x="6519807" y="4767819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06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7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8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09" name="Group 81"/>
          <p:cNvGrpSpPr/>
          <p:nvPr/>
        </p:nvGrpSpPr>
        <p:grpSpPr>
          <a:xfrm>
            <a:off x="8083419" y="4727392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12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13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14" name="Group 81"/>
          <p:cNvGrpSpPr/>
          <p:nvPr/>
        </p:nvGrpSpPr>
        <p:grpSpPr>
          <a:xfrm>
            <a:off x="10382947" y="4730465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15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16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17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18" name="Группа 117"/>
          <p:cNvGrpSpPr/>
          <p:nvPr/>
        </p:nvGrpSpPr>
        <p:grpSpPr>
          <a:xfrm>
            <a:off x="4151763" y="2717216"/>
            <a:ext cx="720000" cy="900000"/>
            <a:chOff x="2781580" y="3812558"/>
            <a:chExt cx="560349" cy="720000"/>
          </a:xfrm>
        </p:grpSpPr>
        <p:sp>
          <p:nvSpPr>
            <p:cNvPr id="119" name="Прямоугольник 118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0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21" name="Группа 120"/>
          <p:cNvGrpSpPr/>
          <p:nvPr/>
        </p:nvGrpSpPr>
        <p:grpSpPr>
          <a:xfrm>
            <a:off x="5250449" y="2717216"/>
            <a:ext cx="720000" cy="900000"/>
            <a:chOff x="2781580" y="3812558"/>
            <a:chExt cx="560349" cy="720000"/>
          </a:xfrm>
        </p:grpSpPr>
        <p:sp>
          <p:nvSpPr>
            <p:cNvPr id="122" name="Прямоугольник 121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3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24" name="Группа 123"/>
          <p:cNvGrpSpPr/>
          <p:nvPr/>
        </p:nvGrpSpPr>
        <p:grpSpPr>
          <a:xfrm>
            <a:off x="8535923" y="2717216"/>
            <a:ext cx="720000" cy="900000"/>
            <a:chOff x="2781580" y="3812558"/>
            <a:chExt cx="560349" cy="720000"/>
          </a:xfrm>
        </p:grpSpPr>
        <p:sp>
          <p:nvSpPr>
            <p:cNvPr id="125" name="Прямоугольник 124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6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27" name="Группа 126"/>
          <p:cNvGrpSpPr/>
          <p:nvPr/>
        </p:nvGrpSpPr>
        <p:grpSpPr>
          <a:xfrm>
            <a:off x="9811799" y="2717216"/>
            <a:ext cx="720000" cy="900000"/>
            <a:chOff x="2781580" y="3812558"/>
            <a:chExt cx="560349" cy="720000"/>
          </a:xfrm>
        </p:grpSpPr>
        <p:sp>
          <p:nvSpPr>
            <p:cNvPr id="128" name="Прямоугольник 127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0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31" name="Группа 130"/>
          <p:cNvGrpSpPr/>
          <p:nvPr/>
        </p:nvGrpSpPr>
        <p:grpSpPr>
          <a:xfrm>
            <a:off x="10846617" y="2717216"/>
            <a:ext cx="720000" cy="900000"/>
            <a:chOff x="2781580" y="3812558"/>
            <a:chExt cx="560349" cy="720000"/>
          </a:xfrm>
        </p:grpSpPr>
        <p:sp>
          <p:nvSpPr>
            <p:cNvPr id="132" name="Прямоугольник 131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3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34" name="Группа 133"/>
          <p:cNvGrpSpPr/>
          <p:nvPr/>
        </p:nvGrpSpPr>
        <p:grpSpPr>
          <a:xfrm>
            <a:off x="1988783" y="3772535"/>
            <a:ext cx="720000" cy="900000"/>
            <a:chOff x="2781580" y="3812558"/>
            <a:chExt cx="560349" cy="720000"/>
          </a:xfrm>
        </p:grpSpPr>
        <p:sp>
          <p:nvSpPr>
            <p:cNvPr id="135" name="Прямоугольник 134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6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37" name="Группа 136"/>
          <p:cNvGrpSpPr/>
          <p:nvPr/>
        </p:nvGrpSpPr>
        <p:grpSpPr>
          <a:xfrm>
            <a:off x="5250449" y="3776401"/>
            <a:ext cx="720000" cy="900000"/>
            <a:chOff x="2781580" y="3812558"/>
            <a:chExt cx="560349" cy="720000"/>
          </a:xfrm>
        </p:grpSpPr>
        <p:sp>
          <p:nvSpPr>
            <p:cNvPr id="138" name="Прямоугольник 137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9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40" name="Группа 139"/>
          <p:cNvGrpSpPr/>
          <p:nvPr/>
        </p:nvGrpSpPr>
        <p:grpSpPr>
          <a:xfrm>
            <a:off x="3321949" y="5375068"/>
            <a:ext cx="720000" cy="900000"/>
            <a:chOff x="2781580" y="3812558"/>
            <a:chExt cx="560349" cy="720000"/>
          </a:xfrm>
        </p:grpSpPr>
        <p:sp>
          <p:nvSpPr>
            <p:cNvPr id="141" name="Прямоугольник 140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2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43" name="Группа 142"/>
          <p:cNvGrpSpPr/>
          <p:nvPr/>
        </p:nvGrpSpPr>
        <p:grpSpPr>
          <a:xfrm>
            <a:off x="8766467" y="5265465"/>
            <a:ext cx="720000" cy="900000"/>
            <a:chOff x="2781580" y="3812558"/>
            <a:chExt cx="560349" cy="720000"/>
          </a:xfrm>
        </p:grpSpPr>
        <p:sp>
          <p:nvSpPr>
            <p:cNvPr id="144" name="Прямоугольник 143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5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46" name="Группа 145"/>
          <p:cNvGrpSpPr/>
          <p:nvPr/>
        </p:nvGrpSpPr>
        <p:grpSpPr>
          <a:xfrm>
            <a:off x="9670815" y="5265466"/>
            <a:ext cx="720000" cy="900000"/>
            <a:chOff x="2781580" y="3812558"/>
            <a:chExt cx="560349" cy="720000"/>
          </a:xfrm>
        </p:grpSpPr>
        <p:sp>
          <p:nvSpPr>
            <p:cNvPr id="147" name="Прямоугольник 146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8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pic>
        <p:nvPicPr>
          <p:cNvPr id="149" name="Picture 5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476500" y="1541581"/>
            <a:ext cx="719671" cy="93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0" name="Picture 5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8535991" y="1541581"/>
            <a:ext cx="719671" cy="93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1" name="Линия"/>
          <p:cNvSpPr>
            <a:spLocks/>
          </p:cNvSpPr>
          <p:nvPr/>
        </p:nvSpPr>
        <p:spPr>
          <a:xfrm flipH="1" flipV="1">
            <a:off x="7367304" y="1168977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52" name="Линия"/>
          <p:cNvSpPr>
            <a:spLocks/>
          </p:cNvSpPr>
          <p:nvPr/>
        </p:nvSpPr>
        <p:spPr>
          <a:xfrm flipH="1" flipV="1">
            <a:off x="4046936" y="1108287"/>
            <a:ext cx="16375" cy="4245855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53" name="Линия"/>
          <p:cNvSpPr>
            <a:spLocks/>
          </p:cNvSpPr>
          <p:nvPr/>
        </p:nvSpPr>
        <p:spPr>
          <a:xfrm flipH="1" flipV="1">
            <a:off x="5130165" y="1132841"/>
            <a:ext cx="16355" cy="4198587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54" name="Линия"/>
          <p:cNvSpPr>
            <a:spLocks/>
          </p:cNvSpPr>
          <p:nvPr/>
        </p:nvSpPr>
        <p:spPr>
          <a:xfrm flipV="1">
            <a:off x="6202405" y="1153902"/>
            <a:ext cx="3411" cy="4200241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277575" y="140942"/>
            <a:ext cx="701952" cy="701952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29" name="Picture 4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18056" y="3298073"/>
            <a:ext cx="688247" cy="232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5" name="Picture 4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21233" y="5984604"/>
            <a:ext cx="688247" cy="232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10732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5704" r="13578" b="9899"/>
          <a:stretch/>
        </p:blipFill>
        <p:spPr>
          <a:xfrm>
            <a:off x="6770291" y="0"/>
            <a:ext cx="5421745" cy="6858000"/>
          </a:xfrm>
          <a:prstGeom prst="rect">
            <a:avLst/>
          </a:prstGeom>
        </p:spPr>
      </p:pic>
      <p:graphicFrame>
        <p:nvGraphicFramePr>
          <p:cNvPr id="4" name="Объект 3" hidden="1"/>
          <p:cNvGraphicFramePr>
            <a:graphicFrameLocks noChangeAspect="1"/>
          </p:cNvGraphicFramePr>
          <p:nvPr>
            <p:extLst/>
          </p:nvPr>
        </p:nvGraphicFramePr>
        <p:xfrm>
          <a:off x="1525593" y="2118"/>
          <a:ext cx="1587" cy="2116"/>
        </p:xfrm>
        <a:graphic>
          <a:graphicData uri="http://schemas.openxmlformats.org/presentationml/2006/ole">
            <p:oleObj spid="_x0000_s328854" name="think-cell Slide" r:id="rId5" imgW="360" imgH="360" progId="">
              <p:embed/>
            </p:oleObj>
          </a:graphicData>
        </a:graphic>
      </p:graphicFrame>
      <p:sp>
        <p:nvSpPr>
          <p:cNvPr id="126" name="ЧТО ОКРУЖАЕТ УЧИТЕЛЯ СЕГОДНЯ?"/>
          <p:cNvSpPr txBox="1"/>
          <p:nvPr/>
        </p:nvSpPr>
        <p:spPr>
          <a:xfrm>
            <a:off x="1199833" y="2125194"/>
            <a:ext cx="5225899" cy="26076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l"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4000" b="1" dirty="0">
                <a:solidFill>
                  <a:srgbClr val="2D3494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С КАКИМИ </a:t>
            </a:r>
            <a:r>
              <a:rPr lang="ru-RU" sz="4000" b="1" dirty="0">
                <a:solidFill>
                  <a:srgbClr val="FC0652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ВОПРОСАМИ</a:t>
            </a:r>
            <a:r>
              <a:rPr lang="ru-RU" sz="4000" b="1" dirty="0">
                <a:solidFill>
                  <a:srgbClr val="2D3494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 СЕГОДНЯ СТАЛКИВАЕТСЯ </a:t>
            </a:r>
            <a:r>
              <a:rPr lang="ru-RU" sz="4000" b="1" dirty="0" smtClean="0">
                <a:solidFill>
                  <a:srgbClr val="2D3494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УЧИТЕЛЬ БИОЛОГИИ?</a:t>
            </a:r>
            <a:endParaRPr sz="4000" b="1" dirty="0">
              <a:solidFill>
                <a:srgbClr val="2D3494"/>
              </a:solidFill>
              <a:latin typeface="+mj-lt"/>
              <a:ea typeface="Helvetica Neue Condensed" panose="02000503000000020004" pitchFamily="2" charset="0"/>
              <a:cs typeface="Calibri" panose="020F0502020204030204" pitchFamily="34" charset="0"/>
              <a:sym typeface="HeliosCompressed"/>
            </a:endParaRPr>
          </a:p>
        </p:txBody>
      </p:sp>
      <p:sp>
        <p:nvSpPr>
          <p:cNvPr id="5" name="Равнобедренный треугольник 4"/>
          <p:cNvSpPr/>
          <p:nvPr/>
        </p:nvSpPr>
        <p:spPr>
          <a:xfrm>
            <a:off x="6081204" y="0"/>
            <a:ext cx="2205981" cy="6858000"/>
          </a:xfrm>
          <a:prstGeom prst="triangle">
            <a:avLst>
              <a:gd name="adj" fmla="val 313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363570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19742616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252215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0" y="2032987"/>
            <a:ext cx="12192000" cy="2376492"/>
          </a:xfrm>
          <a:prstGeom prst="rect">
            <a:avLst/>
          </a:prstGeom>
          <a:solidFill>
            <a:srgbClr val="D1E7F6"/>
          </a:solidFill>
          <a:ln w="9525">
            <a:solidFill>
              <a:srgbClr val="D1E7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8" name="Подзаголовок 3"/>
          <p:cNvSpPr txBox="1">
            <a:spLocks/>
          </p:cNvSpPr>
          <p:nvPr/>
        </p:nvSpPr>
        <p:spPr>
          <a:xfrm>
            <a:off x="4678008" y="2032987"/>
            <a:ext cx="7058871" cy="237649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:</a:t>
            </a:r>
          </a:p>
          <a:p>
            <a:pPr lvl="1">
              <a:buFont typeface="Arial" pitchFamily="34" charset="0"/>
              <a:buChar char="•"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пособствует формированию у учащихся целостного представления о мире с точки зрения современной науки</a:t>
            </a:r>
          </a:p>
          <a:p>
            <a:pPr lvl="1">
              <a:buFont typeface="Arial" pitchFamily="34" charset="0"/>
              <a:buChar char="•"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зволяет реализовать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нципы развивающего обучения и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ет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ия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я творческой свободы учителя и самореализации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еника и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ителя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>
              <a:buFont typeface="Arial" pitchFamily="34" charset="0"/>
              <a:buChar char="•"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ключает творческие задачи, выявляющие индивидуальные способности и возможности учащегося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>
              <a:buFont typeface="Arial" pitchFamily="34" charset="0"/>
              <a:buChar char="•"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дробные иллюстрации учебников способствуют легкой визуализации изучаемого материала</a:t>
            </a: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965252" y="160495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+mn-lt"/>
              </a:rPr>
              <a:t>ЛИНИЯ УМК </a:t>
            </a:r>
            <a:r>
              <a:rPr lang="ru-RU" sz="2400" dirty="0">
                <a:solidFill>
                  <a:srgbClr val="EB2049"/>
                </a:solidFill>
              </a:rPr>
              <a:t>СОНИНА Н.И И </a:t>
            </a:r>
            <a:r>
              <a:rPr lang="ru-RU" sz="2400" dirty="0" smtClean="0">
                <a:solidFill>
                  <a:srgbClr val="EB2049"/>
                </a:solidFill>
              </a:rPr>
              <a:t>ДР. </a:t>
            </a:r>
            <a:r>
              <a:rPr lang="ru-RU" sz="2400" dirty="0" smtClean="0">
                <a:latin typeface="+mn-lt"/>
              </a:rPr>
              <a:t>(10-11 КЛАССЫ)</a:t>
            </a:r>
            <a:br>
              <a:rPr lang="ru-RU" sz="2400" dirty="0" smtClean="0">
                <a:latin typeface="+mn-lt"/>
              </a:rPr>
            </a:br>
            <a:r>
              <a:rPr lang="ru-RU" sz="2400" dirty="0" smtClean="0">
                <a:latin typeface="+mn-lt"/>
              </a:rPr>
              <a:t> </a:t>
            </a:r>
            <a:endParaRPr lang="ru-RU" altLang="ru-RU" sz="24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1" name="Букварь">
            <a:extLst>
              <a:ext uri="{FF2B5EF4-FFF2-40B4-BE49-F238E27FC236}">
                <a16:creationId xmlns="" xmlns:a16="http://schemas.microsoft.com/office/drawing/2014/main" id="{A65BE5AB-DB58-D74E-9720-24CEA346CFC1}"/>
              </a:ext>
            </a:extLst>
          </p:cNvPr>
          <p:cNvSpPr txBox="1"/>
          <p:nvPr/>
        </p:nvSpPr>
        <p:spPr>
          <a:xfrm>
            <a:off x="317592" y="5425018"/>
            <a:ext cx="1295311" cy="322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80000"/>
              </a:lnSpc>
              <a:defRPr sz="4400" b="0">
                <a:solidFill>
                  <a:srgbClr val="009044"/>
                </a:solidFill>
                <a:latin typeface="HeliosExtraCompressed"/>
                <a:ea typeface="HeliosExtraCompressed"/>
                <a:cs typeface="HeliosExtraCompressed"/>
              </a:defRPr>
            </a:lvl1pPr>
          </a:lstStyle>
          <a:p>
            <a:r>
              <a:rPr lang="ru-RU" sz="1100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Учебное пособие.</a:t>
            </a:r>
          </a:p>
          <a:p>
            <a:r>
              <a:rPr lang="ru-RU" sz="1100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Линейный курс (5-9)</a:t>
            </a:r>
            <a:endParaRPr lang="ru-RU" sz="1100" dirty="0">
              <a:solidFill>
                <a:srgbClr val="2D3494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2" name="Букварь">
            <a:extLst>
              <a:ext uri="{FF2B5EF4-FFF2-40B4-BE49-F238E27FC236}">
                <a16:creationId xmlns="" xmlns:a16="http://schemas.microsoft.com/office/drawing/2014/main" id="{5046EC9A-EBBE-7B40-849E-165CF1830F1D}"/>
              </a:ext>
            </a:extLst>
          </p:cNvPr>
          <p:cNvSpPr txBox="1"/>
          <p:nvPr/>
        </p:nvSpPr>
        <p:spPr>
          <a:xfrm>
            <a:off x="3347619" y="5317007"/>
            <a:ext cx="1195628" cy="4575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80000"/>
              </a:lnSpc>
              <a:defRPr sz="4400" b="0">
                <a:solidFill>
                  <a:srgbClr val="009044"/>
                </a:solidFill>
                <a:latin typeface="HeliosExtraCompressed"/>
                <a:ea typeface="HeliosExtraCompressed"/>
                <a:cs typeface="HeliosExtraCompressed"/>
              </a:defRPr>
            </a:lvl1pPr>
          </a:lstStyle>
          <a:p>
            <a:r>
              <a:rPr lang="ru-RU" sz="1100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Учебное пособие.</a:t>
            </a:r>
          </a:p>
          <a:p>
            <a:r>
              <a:rPr lang="ru-RU" sz="1100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Концентрический курс (5-9)</a:t>
            </a:r>
            <a:endParaRPr lang="ru-RU" sz="1100" dirty="0">
              <a:solidFill>
                <a:srgbClr val="2D3494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3" name="Подзаголовок 3"/>
          <p:cNvSpPr txBox="1">
            <a:spLocks/>
          </p:cNvSpPr>
          <p:nvPr/>
        </p:nvSpPr>
        <p:spPr>
          <a:xfrm>
            <a:off x="4776281" y="4741268"/>
            <a:ext cx="2504067" cy="1813722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став УМК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ие тетради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абораторные работы 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ьбомы проектов  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сты</a:t>
            </a: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7280349" y="4890544"/>
            <a:ext cx="2715779" cy="1496434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тетради для оценки качества зна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рабочая программ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ЭФУ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400" dirty="0" smtClean="0"/>
          </a:p>
          <a:p>
            <a:endParaRPr lang="ru-RU" sz="1400" b="1" dirty="0"/>
          </a:p>
        </p:txBody>
      </p:sp>
      <p:sp>
        <p:nvSpPr>
          <p:cNvPr id="24" name="Подзаголовок 3"/>
          <p:cNvSpPr txBox="1">
            <a:spLocks/>
          </p:cNvSpPr>
          <p:nvPr/>
        </p:nvSpPr>
        <p:spPr>
          <a:xfrm>
            <a:off x="4580792" y="1162570"/>
            <a:ext cx="7156095" cy="71218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rgbClr val="2D34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чные знания биологии с учетом возможностей и способностей каждого ученика</a:t>
            </a:r>
            <a:endParaRPr lang="ru-RU" sz="2000" b="1" dirty="0">
              <a:solidFill>
                <a:srgbClr val="2D349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0" name="Группа 39"/>
          <p:cNvGrpSpPr/>
          <p:nvPr/>
        </p:nvGrpSpPr>
        <p:grpSpPr>
          <a:xfrm>
            <a:off x="316172" y="5957650"/>
            <a:ext cx="580477" cy="597340"/>
            <a:chOff x="832043" y="1264362"/>
            <a:chExt cx="1022682" cy="1022682"/>
          </a:xfrm>
        </p:grpSpPr>
        <p:sp>
          <p:nvSpPr>
            <p:cNvPr id="41" name="Овал 40"/>
            <p:cNvSpPr/>
            <p:nvPr/>
          </p:nvSpPr>
          <p:spPr>
            <a:xfrm>
              <a:off x="832043" y="1264362"/>
              <a:ext cx="1022682" cy="1022682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2800" dirty="0" err="1">
                <a:solidFill>
                  <a:schemeClr val="bg1"/>
                </a:solidFill>
              </a:endParaRPr>
            </a:p>
          </p:txBody>
        </p:sp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82038" y="1449256"/>
              <a:ext cx="689502" cy="685493"/>
            </a:xfrm>
            <a:prstGeom prst="rect">
              <a:avLst/>
            </a:prstGeom>
          </p:spPr>
        </p:pic>
      </p:grpSp>
      <p:sp>
        <p:nvSpPr>
          <p:cNvPr id="43" name="Подзаголовок 3"/>
          <p:cNvSpPr txBox="1">
            <a:spLocks/>
          </p:cNvSpPr>
          <p:nvPr/>
        </p:nvSpPr>
        <p:spPr>
          <a:xfrm>
            <a:off x="1034560" y="5901417"/>
            <a:ext cx="3336663" cy="71001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D3494"/>
              </a:buClr>
            </a:pPr>
            <a:r>
              <a:rPr lang="ru-RU" dirty="0" smtClean="0">
                <a:cs typeface="Calibri" panose="020F0502020204030204" pitchFamily="34" charset="0"/>
              </a:rPr>
              <a:t>Поможем оформить закупку учебников и учебных пособий для вашей школы. </a:t>
            </a:r>
          </a:p>
          <a:p>
            <a:pPr>
              <a:buClr>
                <a:srgbClr val="2D3494"/>
              </a:buClr>
            </a:pPr>
            <a:r>
              <a:rPr lang="ru-RU" dirty="0">
                <a:cs typeface="Calibri" panose="020F0502020204030204" pitchFamily="34" charset="0"/>
              </a:rPr>
              <a:t>По всем вопросам пишите на почту </a:t>
            </a:r>
            <a:r>
              <a:rPr lang="en-US" b="1" dirty="0">
                <a:solidFill>
                  <a:srgbClr val="EB2049"/>
                </a:solidFill>
              </a:rPr>
              <a:t>sales@rosuchebnik.ru </a:t>
            </a:r>
            <a:endParaRPr lang="ru-RU" b="1" dirty="0">
              <a:solidFill>
                <a:srgbClr val="EB2049"/>
              </a:solidFill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7" cstate="print"/>
          <a:srcRect l="2357" t="718"/>
          <a:stretch/>
        </p:blipFill>
        <p:spPr>
          <a:xfrm>
            <a:off x="2459441" y="1544187"/>
            <a:ext cx="1275875" cy="174643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3" name="Букварь">
            <a:extLst>
              <a:ext uri="{FF2B5EF4-FFF2-40B4-BE49-F238E27FC236}">
                <a16:creationId xmlns="" xmlns:a16="http://schemas.microsoft.com/office/drawing/2014/main" id="{5046EC9A-EBBE-7B40-849E-165CF1830F1D}"/>
              </a:ext>
            </a:extLst>
          </p:cNvPr>
          <p:cNvSpPr txBox="1"/>
          <p:nvPr/>
        </p:nvSpPr>
        <p:spPr>
          <a:xfrm>
            <a:off x="2967696" y="3317833"/>
            <a:ext cx="1342957" cy="4575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80000"/>
              </a:lnSpc>
              <a:defRPr sz="4400" b="0">
                <a:solidFill>
                  <a:srgbClr val="009044"/>
                </a:solidFill>
                <a:latin typeface="HeliosExtraCompressed"/>
                <a:ea typeface="HeliosExtraCompressed"/>
                <a:cs typeface="HeliosExtraCompressed"/>
              </a:defRPr>
            </a:lvl1pPr>
          </a:lstStyle>
          <a:p>
            <a:r>
              <a:rPr lang="ru-RU" sz="1100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Учебное пособие.</a:t>
            </a:r>
          </a:p>
          <a:p>
            <a:r>
              <a:rPr lang="ru-RU" sz="1100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Углубленный курс (10-11)</a:t>
            </a:r>
            <a:endParaRPr lang="ru-RU" sz="1100" dirty="0">
              <a:solidFill>
                <a:srgbClr val="2D3494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4" name="Букварь">
            <a:extLst>
              <a:ext uri="{FF2B5EF4-FFF2-40B4-BE49-F238E27FC236}">
                <a16:creationId xmlns="" xmlns:a16="http://schemas.microsoft.com/office/drawing/2014/main" id="{5046EC9A-EBBE-7B40-849E-165CF1830F1D}"/>
              </a:ext>
            </a:extLst>
          </p:cNvPr>
          <p:cNvSpPr txBox="1"/>
          <p:nvPr/>
        </p:nvSpPr>
        <p:spPr>
          <a:xfrm>
            <a:off x="1637440" y="3700215"/>
            <a:ext cx="1342957" cy="4982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80000"/>
              </a:lnSpc>
              <a:defRPr sz="4400" b="0">
                <a:solidFill>
                  <a:srgbClr val="009044"/>
                </a:solidFill>
                <a:latin typeface="HeliosExtraCompressed"/>
                <a:ea typeface="HeliosExtraCompressed"/>
                <a:cs typeface="HeliosExtraCompressed"/>
              </a:defRPr>
            </a:lvl1pPr>
          </a:lstStyle>
          <a:p>
            <a:r>
              <a:rPr lang="ru-RU" sz="1200" b="1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Учебник.</a:t>
            </a:r>
          </a:p>
          <a:p>
            <a:r>
              <a:rPr lang="ru-RU" sz="1200" b="1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Базовый курс </a:t>
            </a:r>
          </a:p>
          <a:p>
            <a:r>
              <a:rPr lang="ru-RU" sz="1200" b="1" dirty="0" smtClean="0">
                <a:solidFill>
                  <a:srgbClr val="2D3494"/>
                </a:solidFill>
                <a:latin typeface="+mn-lt"/>
                <a:cs typeface="Calibri" panose="020F0502020204030204" pitchFamily="34" charset="0"/>
              </a:rPr>
              <a:t>(10-11)</a:t>
            </a:r>
            <a:endParaRPr lang="ru-RU" sz="1200" b="1" dirty="0">
              <a:solidFill>
                <a:srgbClr val="2D3494"/>
              </a:solidFill>
              <a:latin typeface="+mn-lt"/>
              <a:cs typeface="Calibri" panose="020F0502020204030204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658420" y="1874756"/>
            <a:ext cx="1252959" cy="1760894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00016" y="3804855"/>
            <a:ext cx="821109" cy="108569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817472" y="3656759"/>
            <a:ext cx="860536" cy="110199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31" descr="ÐÐ¸Ð¾Ð»Ð¾Ð³Ð¸Ñ. ÐÐ²ÐµÐ´ÐµÐ½Ð¸Ðµ Ð² Ð±Ð¸Ð¾Ð»Ð¾Ð³Ð¸Ñ. 5 ÐºÐ»Ð°ÑÑ. Ð£ÑÐµÐ±Ð½Ð¸Ðº. (ÐÑÐ°ÑÐ½ÑÐ¹). ÐÐÐ Ð¢ÐÐÐÐÐ¬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513" y="4137935"/>
            <a:ext cx="831248" cy="117067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6" descr="ÐÐ¸Ð¾Ð»Ð¾Ð³Ð¸Ñ. ÐÐ²ÐµÐ´ÐµÐ½Ð¸Ðµ Ð² Ð±Ð¸Ð¾Ð»Ð¾Ð³Ð¸Ñ. 5 ÐºÐ»Ð°ÑÑ. (Ð¡Ð¸Ð½Ð¸Ð¹). ÐÐÐ Ð¢ÐÐÐÐÐ¬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4687" y="4084037"/>
            <a:ext cx="824425" cy="116106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Овал 24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4633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31927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89384" y="113515"/>
            <a:ext cx="9002149" cy="4050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КОМПОНЕНТЫ </a:t>
            </a:r>
            <a:r>
              <a:rPr lang="ru-RU" sz="2400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НИИ УМК </a:t>
            </a:r>
            <a:r>
              <a:rPr lang="ru-RU" sz="2400" b="1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НИНА Н.И.</a:t>
            </a:r>
          </a:p>
          <a:p>
            <a:r>
              <a:rPr lang="ru-RU" sz="2400" b="1" dirty="0" smtClean="0">
                <a:solidFill>
                  <a:srgbClr val="EB2049"/>
                </a:solidFill>
                <a:cs typeface="Calibri" panose="020F0502020204030204" pitchFamily="34" charset="0"/>
              </a:rPr>
              <a:t>(концентрический курс)</a:t>
            </a:r>
            <a:r>
              <a:rPr lang="ru-RU" sz="2400" b="1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endParaRPr lang="ru-RU" sz="2400" b="1" dirty="0">
              <a:solidFill>
                <a:srgbClr val="EB2049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6" name="Линия"/>
          <p:cNvSpPr>
            <a:spLocks/>
          </p:cNvSpPr>
          <p:nvPr/>
        </p:nvSpPr>
        <p:spPr>
          <a:xfrm flipV="1">
            <a:off x="4276349" y="1075484"/>
            <a:ext cx="1667" cy="5031677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11" name="Текст 27"/>
          <p:cNvSpPr txBox="1">
            <a:spLocks/>
          </p:cNvSpPr>
          <p:nvPr/>
        </p:nvSpPr>
        <p:spPr>
          <a:xfrm>
            <a:off x="334433" y="6337300"/>
            <a:ext cx="11520000" cy="28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 </a:t>
            </a:r>
            <a:endParaRPr lang="ru-RU" dirty="0"/>
          </a:p>
        </p:txBody>
      </p:sp>
      <p:sp>
        <p:nvSpPr>
          <p:cNvPr id="37" name="Линия"/>
          <p:cNvSpPr/>
          <p:nvPr/>
        </p:nvSpPr>
        <p:spPr>
          <a:xfrm flipV="1">
            <a:off x="722979" y="1466195"/>
            <a:ext cx="11208612" cy="38322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40" name="Рабочая тетрадь"/>
          <p:cNvSpPr txBox="1"/>
          <p:nvPr/>
        </p:nvSpPr>
        <p:spPr>
          <a:xfrm>
            <a:off x="1960477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>
                <a:solidFill>
                  <a:srgbClr val="2D3494"/>
                </a:solidFill>
                <a:latin typeface="+mn-lt"/>
              </a:rPr>
              <a:t>5</a:t>
            </a:r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2" name="Рабочая тетрадь"/>
          <p:cNvSpPr txBox="1"/>
          <p:nvPr/>
        </p:nvSpPr>
        <p:spPr>
          <a:xfrm>
            <a:off x="319195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6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3" name="Рабочая тетрадь"/>
          <p:cNvSpPr txBox="1"/>
          <p:nvPr/>
        </p:nvSpPr>
        <p:spPr>
          <a:xfrm>
            <a:off x="4434279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7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4" name="Рабочая тетрадь"/>
          <p:cNvSpPr txBox="1"/>
          <p:nvPr/>
        </p:nvSpPr>
        <p:spPr>
          <a:xfrm>
            <a:off x="5590527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8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6" name="Рабочая тетрадь"/>
          <p:cNvSpPr txBox="1"/>
          <p:nvPr/>
        </p:nvSpPr>
        <p:spPr>
          <a:xfrm>
            <a:off x="688103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9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8" name="Рабочая тетрадь"/>
          <p:cNvSpPr txBox="1"/>
          <p:nvPr/>
        </p:nvSpPr>
        <p:spPr>
          <a:xfrm>
            <a:off x="8631286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0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0" name="Рабочая тетрадь"/>
          <p:cNvSpPr txBox="1"/>
          <p:nvPr/>
        </p:nvSpPr>
        <p:spPr>
          <a:xfrm>
            <a:off x="10465305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1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1" name="Рабочая тетрадь"/>
          <p:cNvSpPr txBox="1"/>
          <p:nvPr/>
        </p:nvSpPr>
        <p:spPr>
          <a:xfrm>
            <a:off x="699257" y="1933130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Рабочие тетради 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3" name="Линия"/>
          <p:cNvSpPr>
            <a:spLocks/>
          </p:cNvSpPr>
          <p:nvPr/>
        </p:nvSpPr>
        <p:spPr>
          <a:xfrm flipH="1" flipV="1">
            <a:off x="1729017" y="1061640"/>
            <a:ext cx="747" cy="5031677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9" name="Линия"/>
          <p:cNvSpPr>
            <a:spLocks/>
          </p:cNvSpPr>
          <p:nvPr/>
        </p:nvSpPr>
        <p:spPr>
          <a:xfrm flipH="1" flipV="1">
            <a:off x="11617800" y="108790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7" name="Рабочая тетрадь"/>
          <p:cNvSpPr txBox="1"/>
          <p:nvPr/>
        </p:nvSpPr>
        <p:spPr>
          <a:xfrm>
            <a:off x="699257" y="4239243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Тестовые задания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pic>
        <p:nvPicPr>
          <p:cNvPr id="229456" name="Picture 80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358888" y="1540384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9457" name="Picture 81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581035" y="1571245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9458" name="Picture 82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6745" y="1540384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9461" name="Picture 85"/>
          <p:cNvPicPr>
            <a:picLocks noChangeArrowheads="1"/>
          </p:cNvPicPr>
          <p:nvPr/>
        </p:nvPicPr>
        <p:blipFill rotWithShape="1">
          <a:blip r:embed="rId9" cstate="print"/>
          <a:srcRect b="3277"/>
          <a:stretch/>
        </p:blipFill>
        <p:spPr bwMode="auto">
          <a:xfrm>
            <a:off x="1954969" y="1540384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9" name="Рабочая тетрадь"/>
          <p:cNvSpPr txBox="1"/>
          <p:nvPr/>
        </p:nvSpPr>
        <p:spPr>
          <a:xfrm>
            <a:off x="699257" y="5183480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Альбомы проектов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pic>
        <p:nvPicPr>
          <p:cNvPr id="229462" name="Picture 86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424405" y="1540384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9463" name="Picture 87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886891" y="1540384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9464" name="Picture 88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174079" y="5111668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9465" name="Picture 89"/>
          <p:cNvPicPr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954969" y="5111668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9466" name="Picture 90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954969" y="3928940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9467" name="Picture 91"/>
          <p:cNvPicPr>
            <a:picLocks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649752" y="1540384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9468" name="Picture 92"/>
          <p:cNvPicPr>
            <a:picLocks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174079" y="3928940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6" name="Линия"/>
          <p:cNvSpPr>
            <a:spLocks/>
          </p:cNvSpPr>
          <p:nvPr/>
        </p:nvSpPr>
        <p:spPr>
          <a:xfrm flipH="1" flipV="1">
            <a:off x="10381412" y="1139954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6" name="Линия"/>
          <p:cNvSpPr>
            <a:spLocks/>
          </p:cNvSpPr>
          <p:nvPr/>
        </p:nvSpPr>
        <p:spPr>
          <a:xfrm flipH="1" flipV="1">
            <a:off x="7908636" y="1209893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8" name="Линия"/>
          <p:cNvSpPr>
            <a:spLocks/>
          </p:cNvSpPr>
          <p:nvPr/>
        </p:nvSpPr>
        <p:spPr>
          <a:xfrm flipH="1" flipV="1">
            <a:off x="6672248" y="115985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9" name="Линия"/>
          <p:cNvSpPr>
            <a:spLocks/>
          </p:cNvSpPr>
          <p:nvPr/>
        </p:nvSpPr>
        <p:spPr>
          <a:xfrm flipH="1" flipV="1">
            <a:off x="5435860" y="115985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0" name="Линия"/>
          <p:cNvSpPr>
            <a:spLocks/>
          </p:cNvSpPr>
          <p:nvPr/>
        </p:nvSpPr>
        <p:spPr>
          <a:xfrm flipH="1" flipV="1">
            <a:off x="4199472" y="115985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3" name="Линия"/>
          <p:cNvSpPr>
            <a:spLocks/>
          </p:cNvSpPr>
          <p:nvPr/>
        </p:nvSpPr>
        <p:spPr>
          <a:xfrm flipH="1" flipV="1">
            <a:off x="2963084" y="1124199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9" name="Рабочая тетрадь"/>
          <p:cNvSpPr txBox="1"/>
          <p:nvPr/>
        </p:nvSpPr>
        <p:spPr>
          <a:xfrm>
            <a:off x="699257" y="2931734"/>
            <a:ext cx="1109479" cy="494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Тетради для лабораторных работ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pic>
        <p:nvPicPr>
          <p:cNvPr id="80" name="Picture 3"/>
          <p:cNvPicPr>
            <a:picLocks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174079" y="2786894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1" name="Picture 4"/>
          <p:cNvPicPr>
            <a:picLocks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649752" y="2786894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2" name="Picture 5"/>
          <p:cNvPicPr>
            <a:picLocks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954969" y="2786894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3" name="Picture 6"/>
          <p:cNvPicPr>
            <a:picLocks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4424405" y="2786894"/>
            <a:ext cx="777600" cy="1065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5" name="Freeform 159"/>
          <p:cNvSpPr>
            <a:spLocks noEditPoints="1"/>
          </p:cNvSpPr>
          <p:nvPr/>
        </p:nvSpPr>
        <p:spPr bwMode="auto">
          <a:xfrm>
            <a:off x="384889" y="280929"/>
            <a:ext cx="504751" cy="432618"/>
          </a:xfrm>
          <a:custGeom>
            <a:avLst/>
            <a:gdLst/>
            <a:ahLst/>
            <a:cxnLst>
              <a:cxn ang="0">
                <a:pos x="178" y="307"/>
              </a:cxn>
              <a:cxn ang="0">
                <a:pos x="179" y="333"/>
              </a:cxn>
              <a:cxn ang="0">
                <a:pos x="183" y="352"/>
              </a:cxn>
              <a:cxn ang="0">
                <a:pos x="174" y="357"/>
              </a:cxn>
              <a:cxn ang="0">
                <a:pos x="7" y="241"/>
              </a:cxn>
              <a:cxn ang="0">
                <a:pos x="0" y="211"/>
              </a:cxn>
              <a:cxn ang="0">
                <a:pos x="4" y="188"/>
              </a:cxn>
              <a:cxn ang="0">
                <a:pos x="11" y="175"/>
              </a:cxn>
              <a:cxn ang="0">
                <a:pos x="19" y="177"/>
              </a:cxn>
              <a:cxn ang="0">
                <a:pos x="183" y="288"/>
              </a:cxn>
              <a:cxn ang="0">
                <a:pos x="183" y="294"/>
              </a:cxn>
              <a:cxn ang="0">
                <a:pos x="205" y="262"/>
              </a:cxn>
              <a:cxn ang="0">
                <a:pos x="198" y="254"/>
              </a:cxn>
              <a:cxn ang="0">
                <a:pos x="347" y="173"/>
              </a:cxn>
              <a:cxn ang="0">
                <a:pos x="356" y="174"/>
              </a:cxn>
              <a:cxn ang="0">
                <a:pos x="358" y="183"/>
              </a:cxn>
              <a:cxn ang="0">
                <a:pos x="211" y="260"/>
              </a:cxn>
              <a:cxn ang="0">
                <a:pos x="348" y="148"/>
              </a:cxn>
              <a:cxn ang="0">
                <a:pos x="344" y="144"/>
              </a:cxn>
              <a:cxn ang="0">
                <a:pos x="200" y="220"/>
              </a:cxn>
              <a:cxn ang="0">
                <a:pos x="204" y="222"/>
              </a:cxn>
              <a:cxn ang="0">
                <a:pos x="206" y="188"/>
              </a:cxn>
              <a:cxn ang="0">
                <a:pos x="348" y="117"/>
              </a:cxn>
              <a:cxn ang="0">
                <a:pos x="349" y="108"/>
              </a:cxn>
              <a:cxn ang="0">
                <a:pos x="38" y="66"/>
              </a:cxn>
              <a:cxn ang="0">
                <a:pos x="33" y="75"/>
              </a:cxn>
              <a:cxn ang="0">
                <a:pos x="37" y="81"/>
              </a:cxn>
              <a:cxn ang="0">
                <a:pos x="196" y="205"/>
              </a:cxn>
              <a:cxn ang="0">
                <a:pos x="195" y="197"/>
              </a:cxn>
              <a:cxn ang="0">
                <a:pos x="31" y="86"/>
              </a:cxn>
              <a:cxn ang="0">
                <a:pos x="22" y="88"/>
              </a:cxn>
              <a:cxn ang="0">
                <a:pos x="14" y="107"/>
              </a:cxn>
              <a:cxn ang="0">
                <a:pos x="13" y="131"/>
              </a:cxn>
              <a:cxn ang="0">
                <a:pos x="23" y="156"/>
              </a:cxn>
              <a:cxn ang="0">
                <a:pos x="191" y="268"/>
              </a:cxn>
              <a:cxn ang="0">
                <a:pos x="196" y="260"/>
              </a:cxn>
              <a:cxn ang="0">
                <a:pos x="189" y="231"/>
              </a:cxn>
              <a:cxn ang="0">
                <a:pos x="192" y="211"/>
              </a:cxn>
              <a:cxn ang="0">
                <a:pos x="342" y="277"/>
              </a:cxn>
              <a:cxn ang="0">
                <a:pos x="345" y="270"/>
              </a:cxn>
              <a:cxn ang="0">
                <a:pos x="340" y="262"/>
              </a:cxn>
              <a:cxn ang="0">
                <a:pos x="191" y="334"/>
              </a:cxn>
              <a:cxn ang="0">
                <a:pos x="187" y="346"/>
              </a:cxn>
              <a:cxn ang="0">
                <a:pos x="195" y="351"/>
              </a:cxn>
              <a:cxn ang="0">
                <a:pos x="334" y="239"/>
              </a:cxn>
              <a:cxn ang="0">
                <a:pos x="335" y="235"/>
              </a:cxn>
              <a:cxn ang="0">
                <a:pos x="188" y="306"/>
              </a:cxn>
              <a:cxn ang="0">
                <a:pos x="189" y="311"/>
              </a:cxn>
            </a:cxnLst>
            <a:rect l="0" t="0" r="r" b="b"/>
            <a:pathLst>
              <a:path w="358" h="357">
                <a:moveTo>
                  <a:pt x="183" y="294"/>
                </a:moveTo>
                <a:lnTo>
                  <a:pt x="183" y="294"/>
                </a:lnTo>
                <a:lnTo>
                  <a:pt x="180" y="301"/>
                </a:lnTo>
                <a:lnTo>
                  <a:pt x="178" y="307"/>
                </a:lnTo>
                <a:lnTo>
                  <a:pt x="176" y="313"/>
                </a:lnTo>
                <a:lnTo>
                  <a:pt x="176" y="320"/>
                </a:lnTo>
                <a:lnTo>
                  <a:pt x="176" y="320"/>
                </a:lnTo>
                <a:lnTo>
                  <a:pt x="179" y="333"/>
                </a:lnTo>
                <a:lnTo>
                  <a:pt x="183" y="346"/>
                </a:lnTo>
                <a:lnTo>
                  <a:pt x="183" y="346"/>
                </a:lnTo>
                <a:lnTo>
                  <a:pt x="183" y="348"/>
                </a:lnTo>
                <a:lnTo>
                  <a:pt x="183" y="352"/>
                </a:lnTo>
                <a:lnTo>
                  <a:pt x="180" y="355"/>
                </a:lnTo>
                <a:lnTo>
                  <a:pt x="178" y="356"/>
                </a:lnTo>
                <a:lnTo>
                  <a:pt x="178" y="356"/>
                </a:lnTo>
                <a:lnTo>
                  <a:pt x="174" y="357"/>
                </a:lnTo>
                <a:lnTo>
                  <a:pt x="170" y="355"/>
                </a:lnTo>
                <a:lnTo>
                  <a:pt x="10" y="245"/>
                </a:lnTo>
                <a:lnTo>
                  <a:pt x="10" y="245"/>
                </a:lnTo>
                <a:lnTo>
                  <a:pt x="7" y="241"/>
                </a:lnTo>
                <a:lnTo>
                  <a:pt x="7" y="241"/>
                </a:lnTo>
                <a:lnTo>
                  <a:pt x="2" y="227"/>
                </a:lnTo>
                <a:lnTo>
                  <a:pt x="1" y="219"/>
                </a:lnTo>
                <a:lnTo>
                  <a:pt x="0" y="211"/>
                </a:lnTo>
                <a:lnTo>
                  <a:pt x="0" y="211"/>
                </a:lnTo>
                <a:lnTo>
                  <a:pt x="0" y="204"/>
                </a:lnTo>
                <a:lnTo>
                  <a:pt x="1" y="196"/>
                </a:lnTo>
                <a:lnTo>
                  <a:pt x="4" y="188"/>
                </a:lnTo>
                <a:lnTo>
                  <a:pt x="6" y="179"/>
                </a:lnTo>
                <a:lnTo>
                  <a:pt x="6" y="179"/>
                </a:lnTo>
                <a:lnTo>
                  <a:pt x="9" y="177"/>
                </a:lnTo>
                <a:lnTo>
                  <a:pt x="11" y="175"/>
                </a:lnTo>
                <a:lnTo>
                  <a:pt x="15" y="174"/>
                </a:lnTo>
                <a:lnTo>
                  <a:pt x="18" y="175"/>
                </a:lnTo>
                <a:lnTo>
                  <a:pt x="18" y="175"/>
                </a:lnTo>
                <a:lnTo>
                  <a:pt x="19" y="177"/>
                </a:lnTo>
                <a:lnTo>
                  <a:pt x="180" y="284"/>
                </a:lnTo>
                <a:lnTo>
                  <a:pt x="180" y="284"/>
                </a:lnTo>
                <a:lnTo>
                  <a:pt x="182" y="285"/>
                </a:lnTo>
                <a:lnTo>
                  <a:pt x="183" y="288"/>
                </a:lnTo>
                <a:lnTo>
                  <a:pt x="183" y="291"/>
                </a:lnTo>
                <a:lnTo>
                  <a:pt x="183" y="294"/>
                </a:lnTo>
                <a:lnTo>
                  <a:pt x="183" y="294"/>
                </a:lnTo>
                <a:lnTo>
                  <a:pt x="183" y="294"/>
                </a:lnTo>
                <a:close/>
                <a:moveTo>
                  <a:pt x="211" y="260"/>
                </a:moveTo>
                <a:lnTo>
                  <a:pt x="211" y="260"/>
                </a:lnTo>
                <a:lnTo>
                  <a:pt x="207" y="262"/>
                </a:lnTo>
                <a:lnTo>
                  <a:pt x="205" y="262"/>
                </a:lnTo>
                <a:lnTo>
                  <a:pt x="201" y="259"/>
                </a:lnTo>
                <a:lnTo>
                  <a:pt x="200" y="257"/>
                </a:lnTo>
                <a:lnTo>
                  <a:pt x="200" y="257"/>
                </a:lnTo>
                <a:lnTo>
                  <a:pt x="198" y="254"/>
                </a:lnTo>
                <a:lnTo>
                  <a:pt x="198" y="250"/>
                </a:lnTo>
                <a:lnTo>
                  <a:pt x="201" y="248"/>
                </a:lnTo>
                <a:lnTo>
                  <a:pt x="204" y="245"/>
                </a:lnTo>
                <a:lnTo>
                  <a:pt x="347" y="173"/>
                </a:lnTo>
                <a:lnTo>
                  <a:pt x="347" y="173"/>
                </a:lnTo>
                <a:lnTo>
                  <a:pt x="349" y="173"/>
                </a:lnTo>
                <a:lnTo>
                  <a:pt x="353" y="173"/>
                </a:lnTo>
                <a:lnTo>
                  <a:pt x="356" y="174"/>
                </a:lnTo>
                <a:lnTo>
                  <a:pt x="358" y="177"/>
                </a:lnTo>
                <a:lnTo>
                  <a:pt x="358" y="177"/>
                </a:lnTo>
                <a:lnTo>
                  <a:pt x="358" y="180"/>
                </a:lnTo>
                <a:lnTo>
                  <a:pt x="358" y="183"/>
                </a:lnTo>
                <a:lnTo>
                  <a:pt x="357" y="187"/>
                </a:lnTo>
                <a:lnTo>
                  <a:pt x="355" y="188"/>
                </a:lnTo>
                <a:lnTo>
                  <a:pt x="211" y="260"/>
                </a:lnTo>
                <a:lnTo>
                  <a:pt x="211" y="260"/>
                </a:lnTo>
                <a:close/>
                <a:moveTo>
                  <a:pt x="204" y="222"/>
                </a:moveTo>
                <a:lnTo>
                  <a:pt x="347" y="149"/>
                </a:lnTo>
                <a:lnTo>
                  <a:pt x="347" y="149"/>
                </a:lnTo>
                <a:lnTo>
                  <a:pt x="348" y="148"/>
                </a:lnTo>
                <a:lnTo>
                  <a:pt x="348" y="146"/>
                </a:lnTo>
                <a:lnTo>
                  <a:pt x="348" y="146"/>
                </a:lnTo>
                <a:lnTo>
                  <a:pt x="347" y="144"/>
                </a:lnTo>
                <a:lnTo>
                  <a:pt x="344" y="144"/>
                </a:lnTo>
                <a:lnTo>
                  <a:pt x="201" y="217"/>
                </a:lnTo>
                <a:lnTo>
                  <a:pt x="201" y="217"/>
                </a:lnTo>
                <a:lnTo>
                  <a:pt x="200" y="219"/>
                </a:lnTo>
                <a:lnTo>
                  <a:pt x="200" y="220"/>
                </a:lnTo>
                <a:lnTo>
                  <a:pt x="200" y="220"/>
                </a:lnTo>
                <a:lnTo>
                  <a:pt x="201" y="222"/>
                </a:lnTo>
                <a:lnTo>
                  <a:pt x="204" y="222"/>
                </a:lnTo>
                <a:lnTo>
                  <a:pt x="204" y="222"/>
                </a:lnTo>
                <a:close/>
                <a:moveTo>
                  <a:pt x="197" y="188"/>
                </a:moveTo>
                <a:lnTo>
                  <a:pt x="197" y="188"/>
                </a:lnTo>
                <a:lnTo>
                  <a:pt x="202" y="190"/>
                </a:lnTo>
                <a:lnTo>
                  <a:pt x="206" y="188"/>
                </a:lnTo>
                <a:lnTo>
                  <a:pt x="206" y="188"/>
                </a:lnTo>
                <a:lnTo>
                  <a:pt x="345" y="120"/>
                </a:lnTo>
                <a:lnTo>
                  <a:pt x="345" y="120"/>
                </a:lnTo>
                <a:lnTo>
                  <a:pt x="348" y="117"/>
                </a:lnTo>
                <a:lnTo>
                  <a:pt x="351" y="115"/>
                </a:lnTo>
                <a:lnTo>
                  <a:pt x="351" y="111"/>
                </a:lnTo>
                <a:lnTo>
                  <a:pt x="349" y="108"/>
                </a:lnTo>
                <a:lnTo>
                  <a:pt x="349" y="108"/>
                </a:lnTo>
                <a:lnTo>
                  <a:pt x="348" y="106"/>
                </a:lnTo>
                <a:lnTo>
                  <a:pt x="347" y="104"/>
                </a:lnTo>
                <a:lnTo>
                  <a:pt x="185" y="0"/>
                </a:lnTo>
                <a:lnTo>
                  <a:pt x="38" y="66"/>
                </a:lnTo>
                <a:lnTo>
                  <a:pt x="38" y="66"/>
                </a:lnTo>
                <a:lnTo>
                  <a:pt x="36" y="68"/>
                </a:lnTo>
                <a:lnTo>
                  <a:pt x="35" y="71"/>
                </a:lnTo>
                <a:lnTo>
                  <a:pt x="33" y="75"/>
                </a:lnTo>
                <a:lnTo>
                  <a:pt x="35" y="77"/>
                </a:lnTo>
                <a:lnTo>
                  <a:pt x="35" y="77"/>
                </a:lnTo>
                <a:lnTo>
                  <a:pt x="37" y="81"/>
                </a:lnTo>
                <a:lnTo>
                  <a:pt x="37" y="81"/>
                </a:lnTo>
                <a:lnTo>
                  <a:pt x="197" y="188"/>
                </a:lnTo>
                <a:lnTo>
                  <a:pt x="197" y="188"/>
                </a:lnTo>
                <a:close/>
                <a:moveTo>
                  <a:pt x="196" y="205"/>
                </a:moveTo>
                <a:lnTo>
                  <a:pt x="196" y="205"/>
                </a:lnTo>
                <a:lnTo>
                  <a:pt x="196" y="205"/>
                </a:lnTo>
                <a:lnTo>
                  <a:pt x="196" y="202"/>
                </a:lnTo>
                <a:lnTo>
                  <a:pt x="196" y="200"/>
                </a:lnTo>
                <a:lnTo>
                  <a:pt x="195" y="197"/>
                </a:lnTo>
                <a:lnTo>
                  <a:pt x="192" y="195"/>
                </a:lnTo>
                <a:lnTo>
                  <a:pt x="32" y="88"/>
                </a:lnTo>
                <a:lnTo>
                  <a:pt x="32" y="88"/>
                </a:lnTo>
                <a:lnTo>
                  <a:pt x="31" y="86"/>
                </a:lnTo>
                <a:lnTo>
                  <a:pt x="31" y="86"/>
                </a:lnTo>
                <a:lnTo>
                  <a:pt x="28" y="86"/>
                </a:lnTo>
                <a:lnTo>
                  <a:pt x="24" y="86"/>
                </a:lnTo>
                <a:lnTo>
                  <a:pt x="22" y="88"/>
                </a:lnTo>
                <a:lnTo>
                  <a:pt x="19" y="90"/>
                </a:lnTo>
                <a:lnTo>
                  <a:pt x="19" y="90"/>
                </a:lnTo>
                <a:lnTo>
                  <a:pt x="16" y="99"/>
                </a:lnTo>
                <a:lnTo>
                  <a:pt x="14" y="107"/>
                </a:lnTo>
                <a:lnTo>
                  <a:pt x="13" y="116"/>
                </a:lnTo>
                <a:lnTo>
                  <a:pt x="13" y="124"/>
                </a:lnTo>
                <a:lnTo>
                  <a:pt x="13" y="124"/>
                </a:lnTo>
                <a:lnTo>
                  <a:pt x="13" y="131"/>
                </a:lnTo>
                <a:lnTo>
                  <a:pt x="15" y="138"/>
                </a:lnTo>
                <a:lnTo>
                  <a:pt x="20" y="152"/>
                </a:lnTo>
                <a:lnTo>
                  <a:pt x="20" y="152"/>
                </a:lnTo>
                <a:lnTo>
                  <a:pt x="23" y="156"/>
                </a:lnTo>
                <a:lnTo>
                  <a:pt x="183" y="266"/>
                </a:lnTo>
                <a:lnTo>
                  <a:pt x="183" y="266"/>
                </a:lnTo>
                <a:lnTo>
                  <a:pt x="187" y="268"/>
                </a:lnTo>
                <a:lnTo>
                  <a:pt x="191" y="268"/>
                </a:lnTo>
                <a:lnTo>
                  <a:pt x="191" y="268"/>
                </a:lnTo>
                <a:lnTo>
                  <a:pt x="193" y="266"/>
                </a:lnTo>
                <a:lnTo>
                  <a:pt x="196" y="263"/>
                </a:lnTo>
                <a:lnTo>
                  <a:pt x="196" y="260"/>
                </a:lnTo>
                <a:lnTo>
                  <a:pt x="196" y="257"/>
                </a:lnTo>
                <a:lnTo>
                  <a:pt x="196" y="257"/>
                </a:lnTo>
                <a:lnTo>
                  <a:pt x="192" y="244"/>
                </a:lnTo>
                <a:lnTo>
                  <a:pt x="189" y="231"/>
                </a:lnTo>
                <a:lnTo>
                  <a:pt x="189" y="231"/>
                </a:lnTo>
                <a:lnTo>
                  <a:pt x="189" y="224"/>
                </a:lnTo>
                <a:lnTo>
                  <a:pt x="191" y="218"/>
                </a:lnTo>
                <a:lnTo>
                  <a:pt x="192" y="211"/>
                </a:lnTo>
                <a:lnTo>
                  <a:pt x="196" y="205"/>
                </a:lnTo>
                <a:lnTo>
                  <a:pt x="196" y="205"/>
                </a:lnTo>
                <a:close/>
                <a:moveTo>
                  <a:pt x="198" y="350"/>
                </a:moveTo>
                <a:lnTo>
                  <a:pt x="342" y="277"/>
                </a:lnTo>
                <a:lnTo>
                  <a:pt x="342" y="277"/>
                </a:lnTo>
                <a:lnTo>
                  <a:pt x="344" y="275"/>
                </a:lnTo>
                <a:lnTo>
                  <a:pt x="345" y="272"/>
                </a:lnTo>
                <a:lnTo>
                  <a:pt x="345" y="270"/>
                </a:lnTo>
                <a:lnTo>
                  <a:pt x="345" y="266"/>
                </a:lnTo>
                <a:lnTo>
                  <a:pt x="345" y="266"/>
                </a:lnTo>
                <a:lnTo>
                  <a:pt x="343" y="263"/>
                </a:lnTo>
                <a:lnTo>
                  <a:pt x="340" y="262"/>
                </a:lnTo>
                <a:lnTo>
                  <a:pt x="336" y="260"/>
                </a:lnTo>
                <a:lnTo>
                  <a:pt x="334" y="262"/>
                </a:lnTo>
                <a:lnTo>
                  <a:pt x="191" y="334"/>
                </a:lnTo>
                <a:lnTo>
                  <a:pt x="191" y="334"/>
                </a:lnTo>
                <a:lnTo>
                  <a:pt x="188" y="337"/>
                </a:lnTo>
                <a:lnTo>
                  <a:pt x="187" y="339"/>
                </a:lnTo>
                <a:lnTo>
                  <a:pt x="185" y="342"/>
                </a:lnTo>
                <a:lnTo>
                  <a:pt x="187" y="346"/>
                </a:lnTo>
                <a:lnTo>
                  <a:pt x="187" y="346"/>
                </a:lnTo>
                <a:lnTo>
                  <a:pt x="189" y="348"/>
                </a:lnTo>
                <a:lnTo>
                  <a:pt x="192" y="350"/>
                </a:lnTo>
                <a:lnTo>
                  <a:pt x="195" y="351"/>
                </a:lnTo>
                <a:lnTo>
                  <a:pt x="198" y="350"/>
                </a:lnTo>
                <a:lnTo>
                  <a:pt x="198" y="350"/>
                </a:lnTo>
                <a:close/>
                <a:moveTo>
                  <a:pt x="191" y="311"/>
                </a:moveTo>
                <a:lnTo>
                  <a:pt x="334" y="239"/>
                </a:lnTo>
                <a:lnTo>
                  <a:pt x="334" y="239"/>
                </a:lnTo>
                <a:lnTo>
                  <a:pt x="335" y="237"/>
                </a:lnTo>
                <a:lnTo>
                  <a:pt x="335" y="235"/>
                </a:lnTo>
                <a:lnTo>
                  <a:pt x="335" y="235"/>
                </a:lnTo>
                <a:lnTo>
                  <a:pt x="334" y="233"/>
                </a:lnTo>
                <a:lnTo>
                  <a:pt x="331" y="233"/>
                </a:lnTo>
                <a:lnTo>
                  <a:pt x="188" y="306"/>
                </a:lnTo>
                <a:lnTo>
                  <a:pt x="188" y="306"/>
                </a:lnTo>
                <a:lnTo>
                  <a:pt x="187" y="307"/>
                </a:lnTo>
                <a:lnTo>
                  <a:pt x="187" y="310"/>
                </a:lnTo>
                <a:lnTo>
                  <a:pt x="187" y="310"/>
                </a:lnTo>
                <a:lnTo>
                  <a:pt x="189" y="311"/>
                </a:lnTo>
                <a:lnTo>
                  <a:pt x="191" y="311"/>
                </a:lnTo>
                <a:lnTo>
                  <a:pt x="191" y="311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>
              <a:solidFill>
                <a:schemeClr val="accent3"/>
              </a:solidFill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277575" y="140942"/>
            <a:ext cx="701952" cy="701952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grpSp>
        <p:nvGrpSpPr>
          <p:cNvPr id="49" name="Группа 48"/>
          <p:cNvGrpSpPr/>
          <p:nvPr/>
        </p:nvGrpSpPr>
        <p:grpSpPr>
          <a:xfrm>
            <a:off x="3102917" y="1538713"/>
            <a:ext cx="900000" cy="1080000"/>
            <a:chOff x="2781580" y="3812558"/>
            <a:chExt cx="560349" cy="720000"/>
          </a:xfrm>
        </p:grpSpPr>
        <p:sp>
          <p:nvSpPr>
            <p:cNvPr id="52" name="Прямоугольник 51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4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="" xmlns:p14="http://schemas.microsoft.com/office/powerpoint/2010/main" val="420936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32950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54436" y="117943"/>
            <a:ext cx="9002149" cy="4050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КОМПОНЕНТЫ </a:t>
            </a:r>
            <a:r>
              <a:rPr lang="ru-RU" sz="2400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НИИ УМК </a:t>
            </a:r>
            <a:r>
              <a:rPr lang="ru-RU" sz="2400" b="1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НИНА Н.И.</a:t>
            </a:r>
          </a:p>
          <a:p>
            <a:r>
              <a:rPr lang="ru-RU" sz="2400" b="1" dirty="0" smtClean="0">
                <a:solidFill>
                  <a:srgbClr val="EB2049"/>
                </a:solidFill>
                <a:cs typeface="Calibri" panose="020F0502020204030204" pitchFamily="34" charset="0"/>
              </a:rPr>
              <a:t>(концентрический курс)</a:t>
            </a:r>
            <a:r>
              <a:rPr lang="ru-RU" sz="2400" b="1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endParaRPr lang="ru-RU" sz="2400" b="1" dirty="0">
              <a:solidFill>
                <a:srgbClr val="EB2049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6" name="Линия"/>
          <p:cNvSpPr>
            <a:spLocks/>
          </p:cNvSpPr>
          <p:nvPr/>
        </p:nvSpPr>
        <p:spPr>
          <a:xfrm flipV="1">
            <a:off x="4276349" y="1075484"/>
            <a:ext cx="1667" cy="5031677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11" name="Текст 27"/>
          <p:cNvSpPr txBox="1">
            <a:spLocks/>
          </p:cNvSpPr>
          <p:nvPr/>
        </p:nvSpPr>
        <p:spPr>
          <a:xfrm>
            <a:off x="334433" y="6337300"/>
            <a:ext cx="11520000" cy="28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 </a:t>
            </a:r>
            <a:endParaRPr lang="ru-RU" dirty="0"/>
          </a:p>
        </p:txBody>
      </p:sp>
      <p:sp>
        <p:nvSpPr>
          <p:cNvPr id="37" name="Линия"/>
          <p:cNvSpPr/>
          <p:nvPr/>
        </p:nvSpPr>
        <p:spPr>
          <a:xfrm flipV="1">
            <a:off x="699192" y="1466296"/>
            <a:ext cx="11232399" cy="27693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40" name="Рабочая тетрадь"/>
          <p:cNvSpPr txBox="1"/>
          <p:nvPr/>
        </p:nvSpPr>
        <p:spPr>
          <a:xfrm>
            <a:off x="2044708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>
                <a:solidFill>
                  <a:srgbClr val="2D3494"/>
                </a:solidFill>
                <a:latin typeface="+mn-lt"/>
              </a:rPr>
              <a:t>5</a:t>
            </a:r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2" name="Рабочая тетрадь"/>
          <p:cNvSpPr txBox="1"/>
          <p:nvPr/>
        </p:nvSpPr>
        <p:spPr>
          <a:xfrm>
            <a:off x="319195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6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3" name="Рабочая тетрадь"/>
          <p:cNvSpPr txBox="1"/>
          <p:nvPr/>
        </p:nvSpPr>
        <p:spPr>
          <a:xfrm>
            <a:off x="4434279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7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4" name="Рабочая тетрадь"/>
          <p:cNvSpPr txBox="1"/>
          <p:nvPr/>
        </p:nvSpPr>
        <p:spPr>
          <a:xfrm>
            <a:off x="5590527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8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6" name="Рабочая тетрадь"/>
          <p:cNvSpPr txBox="1"/>
          <p:nvPr/>
        </p:nvSpPr>
        <p:spPr>
          <a:xfrm>
            <a:off x="688103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9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8" name="Рабочая тетрадь"/>
          <p:cNvSpPr txBox="1"/>
          <p:nvPr/>
        </p:nvSpPr>
        <p:spPr>
          <a:xfrm>
            <a:off x="8631286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0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0" name="Рабочая тетрадь"/>
          <p:cNvSpPr txBox="1"/>
          <p:nvPr/>
        </p:nvSpPr>
        <p:spPr>
          <a:xfrm>
            <a:off x="10465305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1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3" name="Линия"/>
          <p:cNvSpPr>
            <a:spLocks/>
          </p:cNvSpPr>
          <p:nvPr/>
        </p:nvSpPr>
        <p:spPr>
          <a:xfrm flipH="1" flipV="1">
            <a:off x="1729017" y="1061640"/>
            <a:ext cx="747" cy="5031677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9" name="Линия"/>
          <p:cNvSpPr>
            <a:spLocks/>
          </p:cNvSpPr>
          <p:nvPr/>
        </p:nvSpPr>
        <p:spPr>
          <a:xfrm flipH="1" flipV="1">
            <a:off x="11617800" y="108790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6" name="Линия"/>
          <p:cNvSpPr>
            <a:spLocks/>
          </p:cNvSpPr>
          <p:nvPr/>
        </p:nvSpPr>
        <p:spPr>
          <a:xfrm flipV="1">
            <a:off x="10375559" y="1139955"/>
            <a:ext cx="5919" cy="3609599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6" name="Линия"/>
          <p:cNvSpPr>
            <a:spLocks/>
          </p:cNvSpPr>
          <p:nvPr/>
        </p:nvSpPr>
        <p:spPr>
          <a:xfrm flipH="1" flipV="1">
            <a:off x="7908636" y="1209893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8" name="Линия"/>
          <p:cNvSpPr>
            <a:spLocks/>
          </p:cNvSpPr>
          <p:nvPr/>
        </p:nvSpPr>
        <p:spPr>
          <a:xfrm flipH="1" flipV="1">
            <a:off x="6672313" y="1159851"/>
            <a:ext cx="23519" cy="3521924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9" name="Линия"/>
          <p:cNvSpPr>
            <a:spLocks/>
          </p:cNvSpPr>
          <p:nvPr/>
        </p:nvSpPr>
        <p:spPr>
          <a:xfrm flipV="1">
            <a:off x="5418681" y="1159851"/>
            <a:ext cx="17179" cy="3521924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0" name="Линия"/>
          <p:cNvSpPr>
            <a:spLocks/>
          </p:cNvSpPr>
          <p:nvPr/>
        </p:nvSpPr>
        <p:spPr>
          <a:xfrm flipH="1" flipV="1">
            <a:off x="4199473" y="1159851"/>
            <a:ext cx="7867" cy="3521924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3" name="Линия"/>
          <p:cNvSpPr>
            <a:spLocks/>
          </p:cNvSpPr>
          <p:nvPr/>
        </p:nvSpPr>
        <p:spPr>
          <a:xfrm flipH="1" flipV="1">
            <a:off x="2963083" y="1124199"/>
            <a:ext cx="3068" cy="3535322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49" name="Рабочая тетрадь"/>
          <p:cNvSpPr txBox="1"/>
          <p:nvPr/>
        </p:nvSpPr>
        <p:spPr>
          <a:xfrm>
            <a:off x="687484" y="3061866"/>
            <a:ext cx="1109479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Тетрадь для оценки качества знаний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7" name="Рабочая тетрадь"/>
          <p:cNvSpPr txBox="1"/>
          <p:nvPr/>
        </p:nvSpPr>
        <p:spPr>
          <a:xfrm>
            <a:off x="619548" y="5479490"/>
            <a:ext cx="1109479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Программы</a:t>
            </a:r>
          </a:p>
        </p:txBody>
      </p:sp>
      <p:pic>
        <p:nvPicPr>
          <p:cNvPr id="5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9688" y="4673044"/>
            <a:ext cx="688247" cy="232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1" name="Рабочая тетрадь"/>
          <p:cNvSpPr txBox="1"/>
          <p:nvPr/>
        </p:nvSpPr>
        <p:spPr>
          <a:xfrm>
            <a:off x="660808" y="4488898"/>
            <a:ext cx="1109479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ЭФУ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grpSp>
        <p:nvGrpSpPr>
          <p:cNvPr id="62" name="Group 81"/>
          <p:cNvGrpSpPr/>
          <p:nvPr/>
        </p:nvGrpSpPr>
        <p:grpSpPr>
          <a:xfrm>
            <a:off x="2181915" y="437750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63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64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65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67" name="Group 81"/>
          <p:cNvGrpSpPr/>
          <p:nvPr/>
        </p:nvGrpSpPr>
        <p:grpSpPr>
          <a:xfrm>
            <a:off x="3289435" y="437750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71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72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74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75" name="Group 81"/>
          <p:cNvGrpSpPr/>
          <p:nvPr/>
        </p:nvGrpSpPr>
        <p:grpSpPr>
          <a:xfrm>
            <a:off x="4540599" y="437750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76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78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79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80" name="Group 81"/>
          <p:cNvGrpSpPr/>
          <p:nvPr/>
        </p:nvGrpSpPr>
        <p:grpSpPr>
          <a:xfrm>
            <a:off x="5827503" y="437750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81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82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83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84" name="Group 81"/>
          <p:cNvGrpSpPr/>
          <p:nvPr/>
        </p:nvGrpSpPr>
        <p:grpSpPr>
          <a:xfrm>
            <a:off x="7002583" y="437750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85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86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87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88" name="Group 81"/>
          <p:cNvGrpSpPr/>
          <p:nvPr/>
        </p:nvGrpSpPr>
        <p:grpSpPr>
          <a:xfrm>
            <a:off x="8833447" y="437750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89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0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91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pic>
        <p:nvPicPr>
          <p:cNvPr id="97" name="Picture 7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953731" y="2928643"/>
            <a:ext cx="766800" cy="1083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98" name="Group 81"/>
          <p:cNvGrpSpPr/>
          <p:nvPr/>
        </p:nvGrpSpPr>
        <p:grpSpPr>
          <a:xfrm>
            <a:off x="10750066" y="437750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99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0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01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sp>
        <p:nvSpPr>
          <p:cNvPr id="113" name="Рабочая тетрадь"/>
          <p:cNvSpPr txBox="1"/>
          <p:nvPr/>
        </p:nvSpPr>
        <p:spPr>
          <a:xfrm>
            <a:off x="723024" y="1885885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Методические пособия 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pic>
        <p:nvPicPr>
          <p:cNvPr id="114" name="Picture 83"/>
          <p:cNvPicPr>
            <a:picLocks noChangeArrowheads="1"/>
          </p:cNvPicPr>
          <p:nvPr/>
        </p:nvPicPr>
        <p:blipFill rotWithShape="1">
          <a:blip r:embed="rId8" cstate="print"/>
          <a:srcRect b="4606"/>
          <a:stretch/>
        </p:blipFill>
        <p:spPr bwMode="auto">
          <a:xfrm>
            <a:off x="8136745" y="1598178"/>
            <a:ext cx="766800" cy="1083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5" name="Picture 8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620748" y="1598178"/>
            <a:ext cx="746085" cy="1083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6" name="Picture 93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877656" y="1598178"/>
            <a:ext cx="766800" cy="1083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7" name="Picture 94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655511" y="1598178"/>
            <a:ext cx="766800" cy="1083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8" name="Picture 95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433365" y="1598178"/>
            <a:ext cx="766800" cy="1083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9" name="Picture 96"/>
          <p:cNvPicPr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183512" y="1598178"/>
            <a:ext cx="766800" cy="1083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0" name="Picture 97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953731" y="1598178"/>
            <a:ext cx="766800" cy="10836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21" name="Группа 120"/>
          <p:cNvGrpSpPr/>
          <p:nvPr/>
        </p:nvGrpSpPr>
        <p:grpSpPr>
          <a:xfrm>
            <a:off x="9176957" y="1590528"/>
            <a:ext cx="779759" cy="1116000"/>
            <a:chOff x="2819597" y="3764368"/>
            <a:chExt cx="485486" cy="720000"/>
          </a:xfrm>
        </p:grpSpPr>
        <p:sp>
          <p:nvSpPr>
            <p:cNvPr id="122" name="Прямоугольник 121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819597" y="3764368"/>
              <a:ext cx="485486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3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77" name="Группа 76"/>
          <p:cNvGrpSpPr/>
          <p:nvPr/>
        </p:nvGrpSpPr>
        <p:grpSpPr>
          <a:xfrm>
            <a:off x="3834788" y="5096983"/>
            <a:ext cx="779759" cy="1116000"/>
            <a:chOff x="2819597" y="3764368"/>
            <a:chExt cx="485486" cy="720000"/>
          </a:xfrm>
        </p:grpSpPr>
        <p:sp>
          <p:nvSpPr>
            <p:cNvPr id="92" name="Прямоугольник 91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819597" y="3764368"/>
              <a:ext cx="485486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93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94" name="Группа 93"/>
          <p:cNvGrpSpPr/>
          <p:nvPr/>
        </p:nvGrpSpPr>
        <p:grpSpPr>
          <a:xfrm>
            <a:off x="10679558" y="5021948"/>
            <a:ext cx="779759" cy="1116000"/>
            <a:chOff x="2819597" y="3764368"/>
            <a:chExt cx="485486" cy="720000"/>
          </a:xfrm>
        </p:grpSpPr>
        <p:sp>
          <p:nvSpPr>
            <p:cNvPr id="95" name="Прямоугольник 94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819597" y="3764368"/>
              <a:ext cx="485486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96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12" name="Группа 111"/>
          <p:cNvGrpSpPr/>
          <p:nvPr/>
        </p:nvGrpSpPr>
        <p:grpSpPr>
          <a:xfrm>
            <a:off x="8758282" y="5019331"/>
            <a:ext cx="779759" cy="1116000"/>
            <a:chOff x="2819597" y="3764368"/>
            <a:chExt cx="485486" cy="720000"/>
          </a:xfrm>
        </p:grpSpPr>
        <p:sp>
          <p:nvSpPr>
            <p:cNvPr id="124" name="Прямоугольник 123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819597" y="3764368"/>
              <a:ext cx="485486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5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sp>
        <p:nvSpPr>
          <p:cNvPr id="102" name="Freeform 159"/>
          <p:cNvSpPr>
            <a:spLocks noEditPoints="1"/>
          </p:cNvSpPr>
          <p:nvPr/>
        </p:nvSpPr>
        <p:spPr bwMode="auto">
          <a:xfrm>
            <a:off x="384889" y="280929"/>
            <a:ext cx="504751" cy="432618"/>
          </a:xfrm>
          <a:custGeom>
            <a:avLst/>
            <a:gdLst/>
            <a:ahLst/>
            <a:cxnLst>
              <a:cxn ang="0">
                <a:pos x="178" y="307"/>
              </a:cxn>
              <a:cxn ang="0">
                <a:pos x="179" y="333"/>
              </a:cxn>
              <a:cxn ang="0">
                <a:pos x="183" y="352"/>
              </a:cxn>
              <a:cxn ang="0">
                <a:pos x="174" y="357"/>
              </a:cxn>
              <a:cxn ang="0">
                <a:pos x="7" y="241"/>
              </a:cxn>
              <a:cxn ang="0">
                <a:pos x="0" y="211"/>
              </a:cxn>
              <a:cxn ang="0">
                <a:pos x="4" y="188"/>
              </a:cxn>
              <a:cxn ang="0">
                <a:pos x="11" y="175"/>
              </a:cxn>
              <a:cxn ang="0">
                <a:pos x="19" y="177"/>
              </a:cxn>
              <a:cxn ang="0">
                <a:pos x="183" y="288"/>
              </a:cxn>
              <a:cxn ang="0">
                <a:pos x="183" y="294"/>
              </a:cxn>
              <a:cxn ang="0">
                <a:pos x="205" y="262"/>
              </a:cxn>
              <a:cxn ang="0">
                <a:pos x="198" y="254"/>
              </a:cxn>
              <a:cxn ang="0">
                <a:pos x="347" y="173"/>
              </a:cxn>
              <a:cxn ang="0">
                <a:pos x="356" y="174"/>
              </a:cxn>
              <a:cxn ang="0">
                <a:pos x="358" y="183"/>
              </a:cxn>
              <a:cxn ang="0">
                <a:pos x="211" y="260"/>
              </a:cxn>
              <a:cxn ang="0">
                <a:pos x="348" y="148"/>
              </a:cxn>
              <a:cxn ang="0">
                <a:pos x="344" y="144"/>
              </a:cxn>
              <a:cxn ang="0">
                <a:pos x="200" y="220"/>
              </a:cxn>
              <a:cxn ang="0">
                <a:pos x="204" y="222"/>
              </a:cxn>
              <a:cxn ang="0">
                <a:pos x="206" y="188"/>
              </a:cxn>
              <a:cxn ang="0">
                <a:pos x="348" y="117"/>
              </a:cxn>
              <a:cxn ang="0">
                <a:pos x="349" y="108"/>
              </a:cxn>
              <a:cxn ang="0">
                <a:pos x="38" y="66"/>
              </a:cxn>
              <a:cxn ang="0">
                <a:pos x="33" y="75"/>
              </a:cxn>
              <a:cxn ang="0">
                <a:pos x="37" y="81"/>
              </a:cxn>
              <a:cxn ang="0">
                <a:pos x="196" y="205"/>
              </a:cxn>
              <a:cxn ang="0">
                <a:pos x="195" y="197"/>
              </a:cxn>
              <a:cxn ang="0">
                <a:pos x="31" y="86"/>
              </a:cxn>
              <a:cxn ang="0">
                <a:pos x="22" y="88"/>
              </a:cxn>
              <a:cxn ang="0">
                <a:pos x="14" y="107"/>
              </a:cxn>
              <a:cxn ang="0">
                <a:pos x="13" y="131"/>
              </a:cxn>
              <a:cxn ang="0">
                <a:pos x="23" y="156"/>
              </a:cxn>
              <a:cxn ang="0">
                <a:pos x="191" y="268"/>
              </a:cxn>
              <a:cxn ang="0">
                <a:pos x="196" y="260"/>
              </a:cxn>
              <a:cxn ang="0">
                <a:pos x="189" y="231"/>
              </a:cxn>
              <a:cxn ang="0">
                <a:pos x="192" y="211"/>
              </a:cxn>
              <a:cxn ang="0">
                <a:pos x="342" y="277"/>
              </a:cxn>
              <a:cxn ang="0">
                <a:pos x="345" y="270"/>
              </a:cxn>
              <a:cxn ang="0">
                <a:pos x="340" y="262"/>
              </a:cxn>
              <a:cxn ang="0">
                <a:pos x="191" y="334"/>
              </a:cxn>
              <a:cxn ang="0">
                <a:pos x="187" y="346"/>
              </a:cxn>
              <a:cxn ang="0">
                <a:pos x="195" y="351"/>
              </a:cxn>
              <a:cxn ang="0">
                <a:pos x="334" y="239"/>
              </a:cxn>
              <a:cxn ang="0">
                <a:pos x="335" y="235"/>
              </a:cxn>
              <a:cxn ang="0">
                <a:pos x="188" y="306"/>
              </a:cxn>
              <a:cxn ang="0">
                <a:pos x="189" y="311"/>
              </a:cxn>
            </a:cxnLst>
            <a:rect l="0" t="0" r="r" b="b"/>
            <a:pathLst>
              <a:path w="358" h="357">
                <a:moveTo>
                  <a:pt x="183" y="294"/>
                </a:moveTo>
                <a:lnTo>
                  <a:pt x="183" y="294"/>
                </a:lnTo>
                <a:lnTo>
                  <a:pt x="180" y="301"/>
                </a:lnTo>
                <a:lnTo>
                  <a:pt x="178" y="307"/>
                </a:lnTo>
                <a:lnTo>
                  <a:pt x="176" y="313"/>
                </a:lnTo>
                <a:lnTo>
                  <a:pt x="176" y="320"/>
                </a:lnTo>
                <a:lnTo>
                  <a:pt x="176" y="320"/>
                </a:lnTo>
                <a:lnTo>
                  <a:pt x="179" y="333"/>
                </a:lnTo>
                <a:lnTo>
                  <a:pt x="183" y="346"/>
                </a:lnTo>
                <a:lnTo>
                  <a:pt x="183" y="346"/>
                </a:lnTo>
                <a:lnTo>
                  <a:pt x="183" y="348"/>
                </a:lnTo>
                <a:lnTo>
                  <a:pt x="183" y="352"/>
                </a:lnTo>
                <a:lnTo>
                  <a:pt x="180" y="355"/>
                </a:lnTo>
                <a:lnTo>
                  <a:pt x="178" y="356"/>
                </a:lnTo>
                <a:lnTo>
                  <a:pt x="178" y="356"/>
                </a:lnTo>
                <a:lnTo>
                  <a:pt x="174" y="357"/>
                </a:lnTo>
                <a:lnTo>
                  <a:pt x="170" y="355"/>
                </a:lnTo>
                <a:lnTo>
                  <a:pt x="10" y="245"/>
                </a:lnTo>
                <a:lnTo>
                  <a:pt x="10" y="245"/>
                </a:lnTo>
                <a:lnTo>
                  <a:pt x="7" y="241"/>
                </a:lnTo>
                <a:lnTo>
                  <a:pt x="7" y="241"/>
                </a:lnTo>
                <a:lnTo>
                  <a:pt x="2" y="227"/>
                </a:lnTo>
                <a:lnTo>
                  <a:pt x="1" y="219"/>
                </a:lnTo>
                <a:lnTo>
                  <a:pt x="0" y="211"/>
                </a:lnTo>
                <a:lnTo>
                  <a:pt x="0" y="211"/>
                </a:lnTo>
                <a:lnTo>
                  <a:pt x="0" y="204"/>
                </a:lnTo>
                <a:lnTo>
                  <a:pt x="1" y="196"/>
                </a:lnTo>
                <a:lnTo>
                  <a:pt x="4" y="188"/>
                </a:lnTo>
                <a:lnTo>
                  <a:pt x="6" y="179"/>
                </a:lnTo>
                <a:lnTo>
                  <a:pt x="6" y="179"/>
                </a:lnTo>
                <a:lnTo>
                  <a:pt x="9" y="177"/>
                </a:lnTo>
                <a:lnTo>
                  <a:pt x="11" y="175"/>
                </a:lnTo>
                <a:lnTo>
                  <a:pt x="15" y="174"/>
                </a:lnTo>
                <a:lnTo>
                  <a:pt x="18" y="175"/>
                </a:lnTo>
                <a:lnTo>
                  <a:pt x="18" y="175"/>
                </a:lnTo>
                <a:lnTo>
                  <a:pt x="19" y="177"/>
                </a:lnTo>
                <a:lnTo>
                  <a:pt x="180" y="284"/>
                </a:lnTo>
                <a:lnTo>
                  <a:pt x="180" y="284"/>
                </a:lnTo>
                <a:lnTo>
                  <a:pt x="182" y="285"/>
                </a:lnTo>
                <a:lnTo>
                  <a:pt x="183" y="288"/>
                </a:lnTo>
                <a:lnTo>
                  <a:pt x="183" y="291"/>
                </a:lnTo>
                <a:lnTo>
                  <a:pt x="183" y="294"/>
                </a:lnTo>
                <a:lnTo>
                  <a:pt x="183" y="294"/>
                </a:lnTo>
                <a:lnTo>
                  <a:pt x="183" y="294"/>
                </a:lnTo>
                <a:close/>
                <a:moveTo>
                  <a:pt x="211" y="260"/>
                </a:moveTo>
                <a:lnTo>
                  <a:pt x="211" y="260"/>
                </a:lnTo>
                <a:lnTo>
                  <a:pt x="207" y="262"/>
                </a:lnTo>
                <a:lnTo>
                  <a:pt x="205" y="262"/>
                </a:lnTo>
                <a:lnTo>
                  <a:pt x="201" y="259"/>
                </a:lnTo>
                <a:lnTo>
                  <a:pt x="200" y="257"/>
                </a:lnTo>
                <a:lnTo>
                  <a:pt x="200" y="257"/>
                </a:lnTo>
                <a:lnTo>
                  <a:pt x="198" y="254"/>
                </a:lnTo>
                <a:lnTo>
                  <a:pt x="198" y="250"/>
                </a:lnTo>
                <a:lnTo>
                  <a:pt x="201" y="248"/>
                </a:lnTo>
                <a:lnTo>
                  <a:pt x="204" y="245"/>
                </a:lnTo>
                <a:lnTo>
                  <a:pt x="347" y="173"/>
                </a:lnTo>
                <a:lnTo>
                  <a:pt x="347" y="173"/>
                </a:lnTo>
                <a:lnTo>
                  <a:pt x="349" y="173"/>
                </a:lnTo>
                <a:lnTo>
                  <a:pt x="353" y="173"/>
                </a:lnTo>
                <a:lnTo>
                  <a:pt x="356" y="174"/>
                </a:lnTo>
                <a:lnTo>
                  <a:pt x="358" y="177"/>
                </a:lnTo>
                <a:lnTo>
                  <a:pt x="358" y="177"/>
                </a:lnTo>
                <a:lnTo>
                  <a:pt x="358" y="180"/>
                </a:lnTo>
                <a:lnTo>
                  <a:pt x="358" y="183"/>
                </a:lnTo>
                <a:lnTo>
                  <a:pt x="357" y="187"/>
                </a:lnTo>
                <a:lnTo>
                  <a:pt x="355" y="188"/>
                </a:lnTo>
                <a:lnTo>
                  <a:pt x="211" y="260"/>
                </a:lnTo>
                <a:lnTo>
                  <a:pt x="211" y="260"/>
                </a:lnTo>
                <a:close/>
                <a:moveTo>
                  <a:pt x="204" y="222"/>
                </a:moveTo>
                <a:lnTo>
                  <a:pt x="347" y="149"/>
                </a:lnTo>
                <a:lnTo>
                  <a:pt x="347" y="149"/>
                </a:lnTo>
                <a:lnTo>
                  <a:pt x="348" y="148"/>
                </a:lnTo>
                <a:lnTo>
                  <a:pt x="348" y="146"/>
                </a:lnTo>
                <a:lnTo>
                  <a:pt x="348" y="146"/>
                </a:lnTo>
                <a:lnTo>
                  <a:pt x="347" y="144"/>
                </a:lnTo>
                <a:lnTo>
                  <a:pt x="344" y="144"/>
                </a:lnTo>
                <a:lnTo>
                  <a:pt x="201" y="217"/>
                </a:lnTo>
                <a:lnTo>
                  <a:pt x="201" y="217"/>
                </a:lnTo>
                <a:lnTo>
                  <a:pt x="200" y="219"/>
                </a:lnTo>
                <a:lnTo>
                  <a:pt x="200" y="220"/>
                </a:lnTo>
                <a:lnTo>
                  <a:pt x="200" y="220"/>
                </a:lnTo>
                <a:lnTo>
                  <a:pt x="201" y="222"/>
                </a:lnTo>
                <a:lnTo>
                  <a:pt x="204" y="222"/>
                </a:lnTo>
                <a:lnTo>
                  <a:pt x="204" y="222"/>
                </a:lnTo>
                <a:close/>
                <a:moveTo>
                  <a:pt x="197" y="188"/>
                </a:moveTo>
                <a:lnTo>
                  <a:pt x="197" y="188"/>
                </a:lnTo>
                <a:lnTo>
                  <a:pt x="202" y="190"/>
                </a:lnTo>
                <a:lnTo>
                  <a:pt x="206" y="188"/>
                </a:lnTo>
                <a:lnTo>
                  <a:pt x="206" y="188"/>
                </a:lnTo>
                <a:lnTo>
                  <a:pt x="345" y="120"/>
                </a:lnTo>
                <a:lnTo>
                  <a:pt x="345" y="120"/>
                </a:lnTo>
                <a:lnTo>
                  <a:pt x="348" y="117"/>
                </a:lnTo>
                <a:lnTo>
                  <a:pt x="351" y="115"/>
                </a:lnTo>
                <a:lnTo>
                  <a:pt x="351" y="111"/>
                </a:lnTo>
                <a:lnTo>
                  <a:pt x="349" y="108"/>
                </a:lnTo>
                <a:lnTo>
                  <a:pt x="349" y="108"/>
                </a:lnTo>
                <a:lnTo>
                  <a:pt x="348" y="106"/>
                </a:lnTo>
                <a:lnTo>
                  <a:pt x="347" y="104"/>
                </a:lnTo>
                <a:lnTo>
                  <a:pt x="185" y="0"/>
                </a:lnTo>
                <a:lnTo>
                  <a:pt x="38" y="66"/>
                </a:lnTo>
                <a:lnTo>
                  <a:pt x="38" y="66"/>
                </a:lnTo>
                <a:lnTo>
                  <a:pt x="36" y="68"/>
                </a:lnTo>
                <a:lnTo>
                  <a:pt x="35" y="71"/>
                </a:lnTo>
                <a:lnTo>
                  <a:pt x="33" y="75"/>
                </a:lnTo>
                <a:lnTo>
                  <a:pt x="35" y="77"/>
                </a:lnTo>
                <a:lnTo>
                  <a:pt x="35" y="77"/>
                </a:lnTo>
                <a:lnTo>
                  <a:pt x="37" y="81"/>
                </a:lnTo>
                <a:lnTo>
                  <a:pt x="37" y="81"/>
                </a:lnTo>
                <a:lnTo>
                  <a:pt x="197" y="188"/>
                </a:lnTo>
                <a:lnTo>
                  <a:pt x="197" y="188"/>
                </a:lnTo>
                <a:close/>
                <a:moveTo>
                  <a:pt x="196" y="205"/>
                </a:moveTo>
                <a:lnTo>
                  <a:pt x="196" y="205"/>
                </a:lnTo>
                <a:lnTo>
                  <a:pt x="196" y="205"/>
                </a:lnTo>
                <a:lnTo>
                  <a:pt x="196" y="202"/>
                </a:lnTo>
                <a:lnTo>
                  <a:pt x="196" y="200"/>
                </a:lnTo>
                <a:lnTo>
                  <a:pt x="195" y="197"/>
                </a:lnTo>
                <a:lnTo>
                  <a:pt x="192" y="195"/>
                </a:lnTo>
                <a:lnTo>
                  <a:pt x="32" y="88"/>
                </a:lnTo>
                <a:lnTo>
                  <a:pt x="32" y="88"/>
                </a:lnTo>
                <a:lnTo>
                  <a:pt x="31" y="86"/>
                </a:lnTo>
                <a:lnTo>
                  <a:pt x="31" y="86"/>
                </a:lnTo>
                <a:lnTo>
                  <a:pt x="28" y="86"/>
                </a:lnTo>
                <a:lnTo>
                  <a:pt x="24" y="86"/>
                </a:lnTo>
                <a:lnTo>
                  <a:pt x="22" y="88"/>
                </a:lnTo>
                <a:lnTo>
                  <a:pt x="19" y="90"/>
                </a:lnTo>
                <a:lnTo>
                  <a:pt x="19" y="90"/>
                </a:lnTo>
                <a:lnTo>
                  <a:pt x="16" y="99"/>
                </a:lnTo>
                <a:lnTo>
                  <a:pt x="14" y="107"/>
                </a:lnTo>
                <a:lnTo>
                  <a:pt x="13" y="116"/>
                </a:lnTo>
                <a:lnTo>
                  <a:pt x="13" y="124"/>
                </a:lnTo>
                <a:lnTo>
                  <a:pt x="13" y="124"/>
                </a:lnTo>
                <a:lnTo>
                  <a:pt x="13" y="131"/>
                </a:lnTo>
                <a:lnTo>
                  <a:pt x="15" y="138"/>
                </a:lnTo>
                <a:lnTo>
                  <a:pt x="20" y="152"/>
                </a:lnTo>
                <a:lnTo>
                  <a:pt x="20" y="152"/>
                </a:lnTo>
                <a:lnTo>
                  <a:pt x="23" y="156"/>
                </a:lnTo>
                <a:lnTo>
                  <a:pt x="183" y="266"/>
                </a:lnTo>
                <a:lnTo>
                  <a:pt x="183" y="266"/>
                </a:lnTo>
                <a:lnTo>
                  <a:pt x="187" y="268"/>
                </a:lnTo>
                <a:lnTo>
                  <a:pt x="191" y="268"/>
                </a:lnTo>
                <a:lnTo>
                  <a:pt x="191" y="268"/>
                </a:lnTo>
                <a:lnTo>
                  <a:pt x="193" y="266"/>
                </a:lnTo>
                <a:lnTo>
                  <a:pt x="196" y="263"/>
                </a:lnTo>
                <a:lnTo>
                  <a:pt x="196" y="260"/>
                </a:lnTo>
                <a:lnTo>
                  <a:pt x="196" y="257"/>
                </a:lnTo>
                <a:lnTo>
                  <a:pt x="196" y="257"/>
                </a:lnTo>
                <a:lnTo>
                  <a:pt x="192" y="244"/>
                </a:lnTo>
                <a:lnTo>
                  <a:pt x="189" y="231"/>
                </a:lnTo>
                <a:lnTo>
                  <a:pt x="189" y="231"/>
                </a:lnTo>
                <a:lnTo>
                  <a:pt x="189" y="224"/>
                </a:lnTo>
                <a:lnTo>
                  <a:pt x="191" y="218"/>
                </a:lnTo>
                <a:lnTo>
                  <a:pt x="192" y="211"/>
                </a:lnTo>
                <a:lnTo>
                  <a:pt x="196" y="205"/>
                </a:lnTo>
                <a:lnTo>
                  <a:pt x="196" y="205"/>
                </a:lnTo>
                <a:close/>
                <a:moveTo>
                  <a:pt x="198" y="350"/>
                </a:moveTo>
                <a:lnTo>
                  <a:pt x="342" y="277"/>
                </a:lnTo>
                <a:lnTo>
                  <a:pt x="342" y="277"/>
                </a:lnTo>
                <a:lnTo>
                  <a:pt x="344" y="275"/>
                </a:lnTo>
                <a:lnTo>
                  <a:pt x="345" y="272"/>
                </a:lnTo>
                <a:lnTo>
                  <a:pt x="345" y="270"/>
                </a:lnTo>
                <a:lnTo>
                  <a:pt x="345" y="266"/>
                </a:lnTo>
                <a:lnTo>
                  <a:pt x="345" y="266"/>
                </a:lnTo>
                <a:lnTo>
                  <a:pt x="343" y="263"/>
                </a:lnTo>
                <a:lnTo>
                  <a:pt x="340" y="262"/>
                </a:lnTo>
                <a:lnTo>
                  <a:pt x="336" y="260"/>
                </a:lnTo>
                <a:lnTo>
                  <a:pt x="334" y="262"/>
                </a:lnTo>
                <a:lnTo>
                  <a:pt x="191" y="334"/>
                </a:lnTo>
                <a:lnTo>
                  <a:pt x="191" y="334"/>
                </a:lnTo>
                <a:lnTo>
                  <a:pt x="188" y="337"/>
                </a:lnTo>
                <a:lnTo>
                  <a:pt x="187" y="339"/>
                </a:lnTo>
                <a:lnTo>
                  <a:pt x="185" y="342"/>
                </a:lnTo>
                <a:lnTo>
                  <a:pt x="187" y="346"/>
                </a:lnTo>
                <a:lnTo>
                  <a:pt x="187" y="346"/>
                </a:lnTo>
                <a:lnTo>
                  <a:pt x="189" y="348"/>
                </a:lnTo>
                <a:lnTo>
                  <a:pt x="192" y="350"/>
                </a:lnTo>
                <a:lnTo>
                  <a:pt x="195" y="351"/>
                </a:lnTo>
                <a:lnTo>
                  <a:pt x="198" y="350"/>
                </a:lnTo>
                <a:lnTo>
                  <a:pt x="198" y="350"/>
                </a:lnTo>
                <a:close/>
                <a:moveTo>
                  <a:pt x="191" y="311"/>
                </a:moveTo>
                <a:lnTo>
                  <a:pt x="334" y="239"/>
                </a:lnTo>
                <a:lnTo>
                  <a:pt x="334" y="239"/>
                </a:lnTo>
                <a:lnTo>
                  <a:pt x="335" y="237"/>
                </a:lnTo>
                <a:lnTo>
                  <a:pt x="335" y="235"/>
                </a:lnTo>
                <a:lnTo>
                  <a:pt x="335" y="235"/>
                </a:lnTo>
                <a:lnTo>
                  <a:pt x="334" y="233"/>
                </a:lnTo>
                <a:lnTo>
                  <a:pt x="331" y="233"/>
                </a:lnTo>
                <a:lnTo>
                  <a:pt x="188" y="306"/>
                </a:lnTo>
                <a:lnTo>
                  <a:pt x="188" y="306"/>
                </a:lnTo>
                <a:lnTo>
                  <a:pt x="187" y="307"/>
                </a:lnTo>
                <a:lnTo>
                  <a:pt x="187" y="310"/>
                </a:lnTo>
                <a:lnTo>
                  <a:pt x="187" y="310"/>
                </a:lnTo>
                <a:lnTo>
                  <a:pt x="189" y="311"/>
                </a:lnTo>
                <a:lnTo>
                  <a:pt x="191" y="311"/>
                </a:lnTo>
                <a:lnTo>
                  <a:pt x="191" y="311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>
              <a:solidFill>
                <a:schemeClr val="accent3"/>
              </a:solidFill>
            </a:endParaRPr>
          </a:p>
        </p:txBody>
      </p:sp>
      <p:sp>
        <p:nvSpPr>
          <p:cNvPr id="103" name="Овал 102"/>
          <p:cNvSpPr/>
          <p:nvPr/>
        </p:nvSpPr>
        <p:spPr>
          <a:xfrm>
            <a:off x="277575" y="140942"/>
            <a:ext cx="701952" cy="701952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04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9688" y="2232749"/>
            <a:ext cx="688247" cy="232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5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9688" y="5684037"/>
            <a:ext cx="688247" cy="232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691979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33974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Линия"/>
          <p:cNvSpPr>
            <a:spLocks/>
          </p:cNvSpPr>
          <p:nvPr/>
        </p:nvSpPr>
        <p:spPr>
          <a:xfrm flipV="1">
            <a:off x="4276349" y="1075484"/>
            <a:ext cx="1667" cy="5031677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11" name="Текст 27"/>
          <p:cNvSpPr txBox="1">
            <a:spLocks/>
          </p:cNvSpPr>
          <p:nvPr/>
        </p:nvSpPr>
        <p:spPr>
          <a:xfrm>
            <a:off x="334433" y="6337300"/>
            <a:ext cx="11520000" cy="28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 </a:t>
            </a:r>
            <a:endParaRPr lang="ru-RU" dirty="0"/>
          </a:p>
        </p:txBody>
      </p:sp>
      <p:sp>
        <p:nvSpPr>
          <p:cNvPr id="37" name="Линия"/>
          <p:cNvSpPr/>
          <p:nvPr/>
        </p:nvSpPr>
        <p:spPr>
          <a:xfrm flipV="1">
            <a:off x="722979" y="1466195"/>
            <a:ext cx="11208612" cy="38322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40" name="Рабочая тетрадь"/>
          <p:cNvSpPr txBox="1"/>
          <p:nvPr/>
        </p:nvSpPr>
        <p:spPr>
          <a:xfrm>
            <a:off x="1997400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>
                <a:solidFill>
                  <a:srgbClr val="2D3494"/>
                </a:solidFill>
                <a:latin typeface="+mn-lt"/>
              </a:rPr>
              <a:t>5</a:t>
            </a:r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2" name="Рабочая тетрадь"/>
          <p:cNvSpPr txBox="1"/>
          <p:nvPr/>
        </p:nvSpPr>
        <p:spPr>
          <a:xfrm>
            <a:off x="319195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6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3" name="Рабочая тетрадь"/>
          <p:cNvSpPr txBox="1"/>
          <p:nvPr/>
        </p:nvSpPr>
        <p:spPr>
          <a:xfrm>
            <a:off x="4434279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7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4" name="Рабочая тетрадь"/>
          <p:cNvSpPr txBox="1"/>
          <p:nvPr/>
        </p:nvSpPr>
        <p:spPr>
          <a:xfrm>
            <a:off x="5590527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8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6" name="Рабочая тетрадь"/>
          <p:cNvSpPr txBox="1"/>
          <p:nvPr/>
        </p:nvSpPr>
        <p:spPr>
          <a:xfrm>
            <a:off x="688103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9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8" name="Рабочая тетрадь"/>
          <p:cNvSpPr txBox="1"/>
          <p:nvPr/>
        </p:nvSpPr>
        <p:spPr>
          <a:xfrm>
            <a:off x="8631286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0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0" name="Рабочая тетрадь"/>
          <p:cNvSpPr txBox="1"/>
          <p:nvPr/>
        </p:nvSpPr>
        <p:spPr>
          <a:xfrm>
            <a:off x="10465305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1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1" name="Рабочая тетрадь"/>
          <p:cNvSpPr txBox="1"/>
          <p:nvPr/>
        </p:nvSpPr>
        <p:spPr>
          <a:xfrm>
            <a:off x="723024" y="1959763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Рабочие тетради 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3" name="Линия"/>
          <p:cNvSpPr>
            <a:spLocks/>
          </p:cNvSpPr>
          <p:nvPr/>
        </p:nvSpPr>
        <p:spPr>
          <a:xfrm flipH="1" flipV="1">
            <a:off x="1729017" y="1061640"/>
            <a:ext cx="747" cy="5031677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9" name="Линия"/>
          <p:cNvSpPr>
            <a:spLocks/>
          </p:cNvSpPr>
          <p:nvPr/>
        </p:nvSpPr>
        <p:spPr>
          <a:xfrm flipH="1" flipV="1">
            <a:off x="11617800" y="108790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7" name="Рабочая тетрадь"/>
          <p:cNvSpPr txBox="1"/>
          <p:nvPr/>
        </p:nvSpPr>
        <p:spPr>
          <a:xfrm>
            <a:off x="723024" y="4319144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Тестовые задания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129" name="Рабочая тетрадь"/>
          <p:cNvSpPr txBox="1"/>
          <p:nvPr/>
        </p:nvSpPr>
        <p:spPr>
          <a:xfrm>
            <a:off x="723024" y="5471920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Альбомы проектов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6" name="Линия"/>
          <p:cNvSpPr>
            <a:spLocks/>
          </p:cNvSpPr>
          <p:nvPr/>
        </p:nvSpPr>
        <p:spPr>
          <a:xfrm flipH="1" flipV="1">
            <a:off x="10381412" y="1139954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6" name="Линия"/>
          <p:cNvSpPr>
            <a:spLocks/>
          </p:cNvSpPr>
          <p:nvPr/>
        </p:nvSpPr>
        <p:spPr>
          <a:xfrm flipH="1" flipV="1">
            <a:off x="7908636" y="1209893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8" name="Линия"/>
          <p:cNvSpPr>
            <a:spLocks/>
          </p:cNvSpPr>
          <p:nvPr/>
        </p:nvSpPr>
        <p:spPr>
          <a:xfrm flipH="1" flipV="1">
            <a:off x="6672248" y="115985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9" name="Линия"/>
          <p:cNvSpPr>
            <a:spLocks/>
          </p:cNvSpPr>
          <p:nvPr/>
        </p:nvSpPr>
        <p:spPr>
          <a:xfrm flipH="1" flipV="1">
            <a:off x="5435860" y="115985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0" name="Линия"/>
          <p:cNvSpPr>
            <a:spLocks/>
          </p:cNvSpPr>
          <p:nvPr/>
        </p:nvSpPr>
        <p:spPr>
          <a:xfrm flipH="1" flipV="1">
            <a:off x="4199472" y="115985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3" name="Линия"/>
          <p:cNvSpPr>
            <a:spLocks/>
          </p:cNvSpPr>
          <p:nvPr/>
        </p:nvSpPr>
        <p:spPr>
          <a:xfrm flipH="1" flipV="1">
            <a:off x="2963084" y="1124199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086776" y="147064"/>
            <a:ext cx="9002149" cy="4050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КОМПОНЕНТЫ </a:t>
            </a:r>
            <a:r>
              <a:rPr lang="ru-RU" sz="2400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НИИ УМК </a:t>
            </a:r>
            <a:r>
              <a:rPr lang="ru-RU" sz="2400" b="1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НИНА Н.И.</a:t>
            </a:r>
          </a:p>
          <a:p>
            <a:r>
              <a:rPr lang="ru-RU" sz="2400" b="1" dirty="0" smtClean="0">
                <a:solidFill>
                  <a:srgbClr val="EB2049"/>
                </a:solidFill>
                <a:cs typeface="Calibri" panose="020F0502020204030204" pitchFamily="34" charset="0"/>
              </a:rPr>
              <a:t>(линейный курс)</a:t>
            </a:r>
            <a:r>
              <a:rPr lang="ru-RU" sz="2400" b="1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endParaRPr lang="ru-RU" sz="2400" b="1" dirty="0">
              <a:solidFill>
                <a:srgbClr val="EB2049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57" name="Picture 80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364490" y="1598326"/>
            <a:ext cx="777367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8" name="Picture 81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594140" y="1598326"/>
            <a:ext cx="770445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1" name="Picture 82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4708" y="1598326"/>
            <a:ext cx="771568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4" name="Picture 3"/>
          <p:cNvPicPr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675281" y="1598326"/>
            <a:ext cx="767251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5" name="Picture 4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904997" y="1598326"/>
            <a:ext cx="781667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7" name="Picture 5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962595" y="1598326"/>
            <a:ext cx="768148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Picture 6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175289" y="5241658"/>
            <a:ext cx="779099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2" name="Picture 7"/>
          <p:cNvPicPr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937660" y="5241658"/>
            <a:ext cx="818071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Picture 8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959469" y="4051914"/>
            <a:ext cx="774403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5" name="Picture 9"/>
          <p:cNvPicPr>
            <a:picLocks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168345" y="1598326"/>
            <a:ext cx="793127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6" name="Picture 10"/>
          <p:cNvPicPr>
            <a:picLocks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4410208" y="1598326"/>
            <a:ext cx="772417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6" name="Рабочая тетрадь"/>
          <p:cNvSpPr txBox="1"/>
          <p:nvPr/>
        </p:nvSpPr>
        <p:spPr>
          <a:xfrm>
            <a:off x="723024" y="3002761"/>
            <a:ext cx="1109479" cy="494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Тетради для лабораторных работ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pic>
        <p:nvPicPr>
          <p:cNvPr id="87" name="Picture 3"/>
          <p:cNvPicPr>
            <a:picLocks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403401" y="2829094"/>
            <a:ext cx="785891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8" name="Picture 4"/>
          <p:cNvPicPr>
            <a:picLocks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957588" y="2829094"/>
            <a:ext cx="778215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9" name="Picture 5"/>
          <p:cNvPicPr>
            <a:picLocks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164380" y="2829094"/>
            <a:ext cx="801057" cy="1098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90" name="Группа 89"/>
          <p:cNvGrpSpPr/>
          <p:nvPr/>
        </p:nvGrpSpPr>
        <p:grpSpPr>
          <a:xfrm>
            <a:off x="5679044" y="2829094"/>
            <a:ext cx="792000" cy="1080000"/>
            <a:chOff x="2781580" y="3812558"/>
            <a:chExt cx="560349" cy="720000"/>
          </a:xfrm>
        </p:grpSpPr>
        <p:sp>
          <p:nvSpPr>
            <p:cNvPr id="91" name="Прямоугольник 90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92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93" name="Группа 92"/>
          <p:cNvGrpSpPr/>
          <p:nvPr/>
        </p:nvGrpSpPr>
        <p:grpSpPr>
          <a:xfrm>
            <a:off x="6916904" y="2829094"/>
            <a:ext cx="792000" cy="1080000"/>
            <a:chOff x="2781580" y="3812558"/>
            <a:chExt cx="560349" cy="720000"/>
          </a:xfrm>
        </p:grpSpPr>
        <p:sp>
          <p:nvSpPr>
            <p:cNvPr id="94" name="Прямоугольник 93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95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sp>
        <p:nvSpPr>
          <p:cNvPr id="52" name="Freeform 159"/>
          <p:cNvSpPr>
            <a:spLocks noEditPoints="1"/>
          </p:cNvSpPr>
          <p:nvPr/>
        </p:nvSpPr>
        <p:spPr bwMode="auto">
          <a:xfrm>
            <a:off x="384889" y="280929"/>
            <a:ext cx="504751" cy="432618"/>
          </a:xfrm>
          <a:custGeom>
            <a:avLst/>
            <a:gdLst/>
            <a:ahLst/>
            <a:cxnLst>
              <a:cxn ang="0">
                <a:pos x="178" y="307"/>
              </a:cxn>
              <a:cxn ang="0">
                <a:pos x="179" y="333"/>
              </a:cxn>
              <a:cxn ang="0">
                <a:pos x="183" y="352"/>
              </a:cxn>
              <a:cxn ang="0">
                <a:pos x="174" y="357"/>
              </a:cxn>
              <a:cxn ang="0">
                <a:pos x="7" y="241"/>
              </a:cxn>
              <a:cxn ang="0">
                <a:pos x="0" y="211"/>
              </a:cxn>
              <a:cxn ang="0">
                <a:pos x="4" y="188"/>
              </a:cxn>
              <a:cxn ang="0">
                <a:pos x="11" y="175"/>
              </a:cxn>
              <a:cxn ang="0">
                <a:pos x="19" y="177"/>
              </a:cxn>
              <a:cxn ang="0">
                <a:pos x="183" y="288"/>
              </a:cxn>
              <a:cxn ang="0">
                <a:pos x="183" y="294"/>
              </a:cxn>
              <a:cxn ang="0">
                <a:pos x="205" y="262"/>
              </a:cxn>
              <a:cxn ang="0">
                <a:pos x="198" y="254"/>
              </a:cxn>
              <a:cxn ang="0">
                <a:pos x="347" y="173"/>
              </a:cxn>
              <a:cxn ang="0">
                <a:pos x="356" y="174"/>
              </a:cxn>
              <a:cxn ang="0">
                <a:pos x="358" y="183"/>
              </a:cxn>
              <a:cxn ang="0">
                <a:pos x="211" y="260"/>
              </a:cxn>
              <a:cxn ang="0">
                <a:pos x="348" y="148"/>
              </a:cxn>
              <a:cxn ang="0">
                <a:pos x="344" y="144"/>
              </a:cxn>
              <a:cxn ang="0">
                <a:pos x="200" y="220"/>
              </a:cxn>
              <a:cxn ang="0">
                <a:pos x="204" y="222"/>
              </a:cxn>
              <a:cxn ang="0">
                <a:pos x="206" y="188"/>
              </a:cxn>
              <a:cxn ang="0">
                <a:pos x="348" y="117"/>
              </a:cxn>
              <a:cxn ang="0">
                <a:pos x="349" y="108"/>
              </a:cxn>
              <a:cxn ang="0">
                <a:pos x="38" y="66"/>
              </a:cxn>
              <a:cxn ang="0">
                <a:pos x="33" y="75"/>
              </a:cxn>
              <a:cxn ang="0">
                <a:pos x="37" y="81"/>
              </a:cxn>
              <a:cxn ang="0">
                <a:pos x="196" y="205"/>
              </a:cxn>
              <a:cxn ang="0">
                <a:pos x="195" y="197"/>
              </a:cxn>
              <a:cxn ang="0">
                <a:pos x="31" y="86"/>
              </a:cxn>
              <a:cxn ang="0">
                <a:pos x="22" y="88"/>
              </a:cxn>
              <a:cxn ang="0">
                <a:pos x="14" y="107"/>
              </a:cxn>
              <a:cxn ang="0">
                <a:pos x="13" y="131"/>
              </a:cxn>
              <a:cxn ang="0">
                <a:pos x="23" y="156"/>
              </a:cxn>
              <a:cxn ang="0">
                <a:pos x="191" y="268"/>
              </a:cxn>
              <a:cxn ang="0">
                <a:pos x="196" y="260"/>
              </a:cxn>
              <a:cxn ang="0">
                <a:pos x="189" y="231"/>
              </a:cxn>
              <a:cxn ang="0">
                <a:pos x="192" y="211"/>
              </a:cxn>
              <a:cxn ang="0">
                <a:pos x="342" y="277"/>
              </a:cxn>
              <a:cxn ang="0">
                <a:pos x="345" y="270"/>
              </a:cxn>
              <a:cxn ang="0">
                <a:pos x="340" y="262"/>
              </a:cxn>
              <a:cxn ang="0">
                <a:pos x="191" y="334"/>
              </a:cxn>
              <a:cxn ang="0">
                <a:pos x="187" y="346"/>
              </a:cxn>
              <a:cxn ang="0">
                <a:pos x="195" y="351"/>
              </a:cxn>
              <a:cxn ang="0">
                <a:pos x="334" y="239"/>
              </a:cxn>
              <a:cxn ang="0">
                <a:pos x="335" y="235"/>
              </a:cxn>
              <a:cxn ang="0">
                <a:pos x="188" y="306"/>
              </a:cxn>
              <a:cxn ang="0">
                <a:pos x="189" y="311"/>
              </a:cxn>
            </a:cxnLst>
            <a:rect l="0" t="0" r="r" b="b"/>
            <a:pathLst>
              <a:path w="358" h="357">
                <a:moveTo>
                  <a:pt x="183" y="294"/>
                </a:moveTo>
                <a:lnTo>
                  <a:pt x="183" y="294"/>
                </a:lnTo>
                <a:lnTo>
                  <a:pt x="180" y="301"/>
                </a:lnTo>
                <a:lnTo>
                  <a:pt x="178" y="307"/>
                </a:lnTo>
                <a:lnTo>
                  <a:pt x="176" y="313"/>
                </a:lnTo>
                <a:lnTo>
                  <a:pt x="176" y="320"/>
                </a:lnTo>
                <a:lnTo>
                  <a:pt x="176" y="320"/>
                </a:lnTo>
                <a:lnTo>
                  <a:pt x="179" y="333"/>
                </a:lnTo>
                <a:lnTo>
                  <a:pt x="183" y="346"/>
                </a:lnTo>
                <a:lnTo>
                  <a:pt x="183" y="346"/>
                </a:lnTo>
                <a:lnTo>
                  <a:pt x="183" y="348"/>
                </a:lnTo>
                <a:lnTo>
                  <a:pt x="183" y="352"/>
                </a:lnTo>
                <a:lnTo>
                  <a:pt x="180" y="355"/>
                </a:lnTo>
                <a:lnTo>
                  <a:pt x="178" y="356"/>
                </a:lnTo>
                <a:lnTo>
                  <a:pt x="178" y="356"/>
                </a:lnTo>
                <a:lnTo>
                  <a:pt x="174" y="357"/>
                </a:lnTo>
                <a:lnTo>
                  <a:pt x="170" y="355"/>
                </a:lnTo>
                <a:lnTo>
                  <a:pt x="10" y="245"/>
                </a:lnTo>
                <a:lnTo>
                  <a:pt x="10" y="245"/>
                </a:lnTo>
                <a:lnTo>
                  <a:pt x="7" y="241"/>
                </a:lnTo>
                <a:lnTo>
                  <a:pt x="7" y="241"/>
                </a:lnTo>
                <a:lnTo>
                  <a:pt x="2" y="227"/>
                </a:lnTo>
                <a:lnTo>
                  <a:pt x="1" y="219"/>
                </a:lnTo>
                <a:lnTo>
                  <a:pt x="0" y="211"/>
                </a:lnTo>
                <a:lnTo>
                  <a:pt x="0" y="211"/>
                </a:lnTo>
                <a:lnTo>
                  <a:pt x="0" y="204"/>
                </a:lnTo>
                <a:lnTo>
                  <a:pt x="1" y="196"/>
                </a:lnTo>
                <a:lnTo>
                  <a:pt x="4" y="188"/>
                </a:lnTo>
                <a:lnTo>
                  <a:pt x="6" y="179"/>
                </a:lnTo>
                <a:lnTo>
                  <a:pt x="6" y="179"/>
                </a:lnTo>
                <a:lnTo>
                  <a:pt x="9" y="177"/>
                </a:lnTo>
                <a:lnTo>
                  <a:pt x="11" y="175"/>
                </a:lnTo>
                <a:lnTo>
                  <a:pt x="15" y="174"/>
                </a:lnTo>
                <a:lnTo>
                  <a:pt x="18" y="175"/>
                </a:lnTo>
                <a:lnTo>
                  <a:pt x="18" y="175"/>
                </a:lnTo>
                <a:lnTo>
                  <a:pt x="19" y="177"/>
                </a:lnTo>
                <a:lnTo>
                  <a:pt x="180" y="284"/>
                </a:lnTo>
                <a:lnTo>
                  <a:pt x="180" y="284"/>
                </a:lnTo>
                <a:lnTo>
                  <a:pt x="182" y="285"/>
                </a:lnTo>
                <a:lnTo>
                  <a:pt x="183" y="288"/>
                </a:lnTo>
                <a:lnTo>
                  <a:pt x="183" y="291"/>
                </a:lnTo>
                <a:lnTo>
                  <a:pt x="183" y="294"/>
                </a:lnTo>
                <a:lnTo>
                  <a:pt x="183" y="294"/>
                </a:lnTo>
                <a:lnTo>
                  <a:pt x="183" y="294"/>
                </a:lnTo>
                <a:close/>
                <a:moveTo>
                  <a:pt x="211" y="260"/>
                </a:moveTo>
                <a:lnTo>
                  <a:pt x="211" y="260"/>
                </a:lnTo>
                <a:lnTo>
                  <a:pt x="207" y="262"/>
                </a:lnTo>
                <a:lnTo>
                  <a:pt x="205" y="262"/>
                </a:lnTo>
                <a:lnTo>
                  <a:pt x="201" y="259"/>
                </a:lnTo>
                <a:lnTo>
                  <a:pt x="200" y="257"/>
                </a:lnTo>
                <a:lnTo>
                  <a:pt x="200" y="257"/>
                </a:lnTo>
                <a:lnTo>
                  <a:pt x="198" y="254"/>
                </a:lnTo>
                <a:lnTo>
                  <a:pt x="198" y="250"/>
                </a:lnTo>
                <a:lnTo>
                  <a:pt x="201" y="248"/>
                </a:lnTo>
                <a:lnTo>
                  <a:pt x="204" y="245"/>
                </a:lnTo>
                <a:lnTo>
                  <a:pt x="347" y="173"/>
                </a:lnTo>
                <a:lnTo>
                  <a:pt x="347" y="173"/>
                </a:lnTo>
                <a:lnTo>
                  <a:pt x="349" y="173"/>
                </a:lnTo>
                <a:lnTo>
                  <a:pt x="353" y="173"/>
                </a:lnTo>
                <a:lnTo>
                  <a:pt x="356" y="174"/>
                </a:lnTo>
                <a:lnTo>
                  <a:pt x="358" y="177"/>
                </a:lnTo>
                <a:lnTo>
                  <a:pt x="358" y="177"/>
                </a:lnTo>
                <a:lnTo>
                  <a:pt x="358" y="180"/>
                </a:lnTo>
                <a:lnTo>
                  <a:pt x="358" y="183"/>
                </a:lnTo>
                <a:lnTo>
                  <a:pt x="357" y="187"/>
                </a:lnTo>
                <a:lnTo>
                  <a:pt x="355" y="188"/>
                </a:lnTo>
                <a:lnTo>
                  <a:pt x="211" y="260"/>
                </a:lnTo>
                <a:lnTo>
                  <a:pt x="211" y="260"/>
                </a:lnTo>
                <a:close/>
                <a:moveTo>
                  <a:pt x="204" y="222"/>
                </a:moveTo>
                <a:lnTo>
                  <a:pt x="347" y="149"/>
                </a:lnTo>
                <a:lnTo>
                  <a:pt x="347" y="149"/>
                </a:lnTo>
                <a:lnTo>
                  <a:pt x="348" y="148"/>
                </a:lnTo>
                <a:lnTo>
                  <a:pt x="348" y="146"/>
                </a:lnTo>
                <a:lnTo>
                  <a:pt x="348" y="146"/>
                </a:lnTo>
                <a:lnTo>
                  <a:pt x="347" y="144"/>
                </a:lnTo>
                <a:lnTo>
                  <a:pt x="344" y="144"/>
                </a:lnTo>
                <a:lnTo>
                  <a:pt x="201" y="217"/>
                </a:lnTo>
                <a:lnTo>
                  <a:pt x="201" y="217"/>
                </a:lnTo>
                <a:lnTo>
                  <a:pt x="200" y="219"/>
                </a:lnTo>
                <a:lnTo>
                  <a:pt x="200" y="220"/>
                </a:lnTo>
                <a:lnTo>
                  <a:pt x="200" y="220"/>
                </a:lnTo>
                <a:lnTo>
                  <a:pt x="201" y="222"/>
                </a:lnTo>
                <a:lnTo>
                  <a:pt x="204" y="222"/>
                </a:lnTo>
                <a:lnTo>
                  <a:pt x="204" y="222"/>
                </a:lnTo>
                <a:close/>
                <a:moveTo>
                  <a:pt x="197" y="188"/>
                </a:moveTo>
                <a:lnTo>
                  <a:pt x="197" y="188"/>
                </a:lnTo>
                <a:lnTo>
                  <a:pt x="202" y="190"/>
                </a:lnTo>
                <a:lnTo>
                  <a:pt x="206" y="188"/>
                </a:lnTo>
                <a:lnTo>
                  <a:pt x="206" y="188"/>
                </a:lnTo>
                <a:lnTo>
                  <a:pt x="345" y="120"/>
                </a:lnTo>
                <a:lnTo>
                  <a:pt x="345" y="120"/>
                </a:lnTo>
                <a:lnTo>
                  <a:pt x="348" y="117"/>
                </a:lnTo>
                <a:lnTo>
                  <a:pt x="351" y="115"/>
                </a:lnTo>
                <a:lnTo>
                  <a:pt x="351" y="111"/>
                </a:lnTo>
                <a:lnTo>
                  <a:pt x="349" y="108"/>
                </a:lnTo>
                <a:lnTo>
                  <a:pt x="349" y="108"/>
                </a:lnTo>
                <a:lnTo>
                  <a:pt x="348" y="106"/>
                </a:lnTo>
                <a:lnTo>
                  <a:pt x="347" y="104"/>
                </a:lnTo>
                <a:lnTo>
                  <a:pt x="185" y="0"/>
                </a:lnTo>
                <a:lnTo>
                  <a:pt x="38" y="66"/>
                </a:lnTo>
                <a:lnTo>
                  <a:pt x="38" y="66"/>
                </a:lnTo>
                <a:lnTo>
                  <a:pt x="36" y="68"/>
                </a:lnTo>
                <a:lnTo>
                  <a:pt x="35" y="71"/>
                </a:lnTo>
                <a:lnTo>
                  <a:pt x="33" y="75"/>
                </a:lnTo>
                <a:lnTo>
                  <a:pt x="35" y="77"/>
                </a:lnTo>
                <a:lnTo>
                  <a:pt x="35" y="77"/>
                </a:lnTo>
                <a:lnTo>
                  <a:pt x="37" y="81"/>
                </a:lnTo>
                <a:lnTo>
                  <a:pt x="37" y="81"/>
                </a:lnTo>
                <a:lnTo>
                  <a:pt x="197" y="188"/>
                </a:lnTo>
                <a:lnTo>
                  <a:pt x="197" y="188"/>
                </a:lnTo>
                <a:close/>
                <a:moveTo>
                  <a:pt x="196" y="205"/>
                </a:moveTo>
                <a:lnTo>
                  <a:pt x="196" y="205"/>
                </a:lnTo>
                <a:lnTo>
                  <a:pt x="196" y="205"/>
                </a:lnTo>
                <a:lnTo>
                  <a:pt x="196" y="202"/>
                </a:lnTo>
                <a:lnTo>
                  <a:pt x="196" y="200"/>
                </a:lnTo>
                <a:lnTo>
                  <a:pt x="195" y="197"/>
                </a:lnTo>
                <a:lnTo>
                  <a:pt x="192" y="195"/>
                </a:lnTo>
                <a:lnTo>
                  <a:pt x="32" y="88"/>
                </a:lnTo>
                <a:lnTo>
                  <a:pt x="32" y="88"/>
                </a:lnTo>
                <a:lnTo>
                  <a:pt x="31" y="86"/>
                </a:lnTo>
                <a:lnTo>
                  <a:pt x="31" y="86"/>
                </a:lnTo>
                <a:lnTo>
                  <a:pt x="28" y="86"/>
                </a:lnTo>
                <a:lnTo>
                  <a:pt x="24" y="86"/>
                </a:lnTo>
                <a:lnTo>
                  <a:pt x="22" y="88"/>
                </a:lnTo>
                <a:lnTo>
                  <a:pt x="19" y="90"/>
                </a:lnTo>
                <a:lnTo>
                  <a:pt x="19" y="90"/>
                </a:lnTo>
                <a:lnTo>
                  <a:pt x="16" y="99"/>
                </a:lnTo>
                <a:lnTo>
                  <a:pt x="14" y="107"/>
                </a:lnTo>
                <a:lnTo>
                  <a:pt x="13" y="116"/>
                </a:lnTo>
                <a:lnTo>
                  <a:pt x="13" y="124"/>
                </a:lnTo>
                <a:lnTo>
                  <a:pt x="13" y="124"/>
                </a:lnTo>
                <a:lnTo>
                  <a:pt x="13" y="131"/>
                </a:lnTo>
                <a:lnTo>
                  <a:pt x="15" y="138"/>
                </a:lnTo>
                <a:lnTo>
                  <a:pt x="20" y="152"/>
                </a:lnTo>
                <a:lnTo>
                  <a:pt x="20" y="152"/>
                </a:lnTo>
                <a:lnTo>
                  <a:pt x="23" y="156"/>
                </a:lnTo>
                <a:lnTo>
                  <a:pt x="183" y="266"/>
                </a:lnTo>
                <a:lnTo>
                  <a:pt x="183" y="266"/>
                </a:lnTo>
                <a:lnTo>
                  <a:pt x="187" y="268"/>
                </a:lnTo>
                <a:lnTo>
                  <a:pt x="191" y="268"/>
                </a:lnTo>
                <a:lnTo>
                  <a:pt x="191" y="268"/>
                </a:lnTo>
                <a:lnTo>
                  <a:pt x="193" y="266"/>
                </a:lnTo>
                <a:lnTo>
                  <a:pt x="196" y="263"/>
                </a:lnTo>
                <a:lnTo>
                  <a:pt x="196" y="260"/>
                </a:lnTo>
                <a:lnTo>
                  <a:pt x="196" y="257"/>
                </a:lnTo>
                <a:lnTo>
                  <a:pt x="196" y="257"/>
                </a:lnTo>
                <a:lnTo>
                  <a:pt x="192" y="244"/>
                </a:lnTo>
                <a:lnTo>
                  <a:pt x="189" y="231"/>
                </a:lnTo>
                <a:lnTo>
                  <a:pt x="189" y="231"/>
                </a:lnTo>
                <a:lnTo>
                  <a:pt x="189" y="224"/>
                </a:lnTo>
                <a:lnTo>
                  <a:pt x="191" y="218"/>
                </a:lnTo>
                <a:lnTo>
                  <a:pt x="192" y="211"/>
                </a:lnTo>
                <a:lnTo>
                  <a:pt x="196" y="205"/>
                </a:lnTo>
                <a:lnTo>
                  <a:pt x="196" y="205"/>
                </a:lnTo>
                <a:close/>
                <a:moveTo>
                  <a:pt x="198" y="350"/>
                </a:moveTo>
                <a:lnTo>
                  <a:pt x="342" y="277"/>
                </a:lnTo>
                <a:lnTo>
                  <a:pt x="342" y="277"/>
                </a:lnTo>
                <a:lnTo>
                  <a:pt x="344" y="275"/>
                </a:lnTo>
                <a:lnTo>
                  <a:pt x="345" y="272"/>
                </a:lnTo>
                <a:lnTo>
                  <a:pt x="345" y="270"/>
                </a:lnTo>
                <a:lnTo>
                  <a:pt x="345" y="266"/>
                </a:lnTo>
                <a:lnTo>
                  <a:pt x="345" y="266"/>
                </a:lnTo>
                <a:lnTo>
                  <a:pt x="343" y="263"/>
                </a:lnTo>
                <a:lnTo>
                  <a:pt x="340" y="262"/>
                </a:lnTo>
                <a:lnTo>
                  <a:pt x="336" y="260"/>
                </a:lnTo>
                <a:lnTo>
                  <a:pt x="334" y="262"/>
                </a:lnTo>
                <a:lnTo>
                  <a:pt x="191" y="334"/>
                </a:lnTo>
                <a:lnTo>
                  <a:pt x="191" y="334"/>
                </a:lnTo>
                <a:lnTo>
                  <a:pt x="188" y="337"/>
                </a:lnTo>
                <a:lnTo>
                  <a:pt x="187" y="339"/>
                </a:lnTo>
                <a:lnTo>
                  <a:pt x="185" y="342"/>
                </a:lnTo>
                <a:lnTo>
                  <a:pt x="187" y="346"/>
                </a:lnTo>
                <a:lnTo>
                  <a:pt x="187" y="346"/>
                </a:lnTo>
                <a:lnTo>
                  <a:pt x="189" y="348"/>
                </a:lnTo>
                <a:lnTo>
                  <a:pt x="192" y="350"/>
                </a:lnTo>
                <a:lnTo>
                  <a:pt x="195" y="351"/>
                </a:lnTo>
                <a:lnTo>
                  <a:pt x="198" y="350"/>
                </a:lnTo>
                <a:lnTo>
                  <a:pt x="198" y="350"/>
                </a:lnTo>
                <a:close/>
                <a:moveTo>
                  <a:pt x="191" y="311"/>
                </a:moveTo>
                <a:lnTo>
                  <a:pt x="334" y="239"/>
                </a:lnTo>
                <a:lnTo>
                  <a:pt x="334" y="239"/>
                </a:lnTo>
                <a:lnTo>
                  <a:pt x="335" y="237"/>
                </a:lnTo>
                <a:lnTo>
                  <a:pt x="335" y="235"/>
                </a:lnTo>
                <a:lnTo>
                  <a:pt x="335" y="235"/>
                </a:lnTo>
                <a:lnTo>
                  <a:pt x="334" y="233"/>
                </a:lnTo>
                <a:lnTo>
                  <a:pt x="331" y="233"/>
                </a:lnTo>
                <a:lnTo>
                  <a:pt x="188" y="306"/>
                </a:lnTo>
                <a:lnTo>
                  <a:pt x="188" y="306"/>
                </a:lnTo>
                <a:lnTo>
                  <a:pt x="187" y="307"/>
                </a:lnTo>
                <a:lnTo>
                  <a:pt x="187" y="310"/>
                </a:lnTo>
                <a:lnTo>
                  <a:pt x="187" y="310"/>
                </a:lnTo>
                <a:lnTo>
                  <a:pt x="189" y="311"/>
                </a:lnTo>
                <a:lnTo>
                  <a:pt x="191" y="311"/>
                </a:lnTo>
                <a:lnTo>
                  <a:pt x="191" y="311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>
              <a:solidFill>
                <a:schemeClr val="accent3"/>
              </a:solidFill>
            </a:endParaRPr>
          </a:p>
        </p:txBody>
      </p:sp>
      <p:sp>
        <p:nvSpPr>
          <p:cNvPr id="54" name="Овал 53"/>
          <p:cNvSpPr/>
          <p:nvPr/>
        </p:nvSpPr>
        <p:spPr>
          <a:xfrm>
            <a:off x="277575" y="140942"/>
            <a:ext cx="701952" cy="701952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9149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34998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Линия"/>
          <p:cNvSpPr>
            <a:spLocks/>
          </p:cNvSpPr>
          <p:nvPr/>
        </p:nvSpPr>
        <p:spPr>
          <a:xfrm flipV="1">
            <a:off x="4276349" y="1075484"/>
            <a:ext cx="1667" cy="5031677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111" name="Текст 27"/>
          <p:cNvSpPr txBox="1">
            <a:spLocks/>
          </p:cNvSpPr>
          <p:nvPr/>
        </p:nvSpPr>
        <p:spPr>
          <a:xfrm>
            <a:off x="334433" y="6337300"/>
            <a:ext cx="11520000" cy="28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 </a:t>
            </a:r>
            <a:endParaRPr lang="ru-RU" dirty="0"/>
          </a:p>
        </p:txBody>
      </p:sp>
      <p:sp>
        <p:nvSpPr>
          <p:cNvPr id="37" name="Линия"/>
          <p:cNvSpPr/>
          <p:nvPr/>
        </p:nvSpPr>
        <p:spPr>
          <a:xfrm flipV="1">
            <a:off x="722979" y="1466195"/>
            <a:ext cx="11208612" cy="38322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40" name="Рабочая тетрадь"/>
          <p:cNvSpPr txBox="1"/>
          <p:nvPr/>
        </p:nvSpPr>
        <p:spPr>
          <a:xfrm>
            <a:off x="1997400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>
                <a:solidFill>
                  <a:srgbClr val="2D3494"/>
                </a:solidFill>
                <a:latin typeface="+mn-lt"/>
              </a:rPr>
              <a:t>5</a:t>
            </a:r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2" name="Рабочая тетрадь"/>
          <p:cNvSpPr txBox="1"/>
          <p:nvPr/>
        </p:nvSpPr>
        <p:spPr>
          <a:xfrm>
            <a:off x="319195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6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3" name="Рабочая тетрадь"/>
          <p:cNvSpPr txBox="1"/>
          <p:nvPr/>
        </p:nvSpPr>
        <p:spPr>
          <a:xfrm>
            <a:off x="4434279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7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4" name="Рабочая тетрадь"/>
          <p:cNvSpPr txBox="1"/>
          <p:nvPr/>
        </p:nvSpPr>
        <p:spPr>
          <a:xfrm>
            <a:off x="5590527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8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6" name="Рабочая тетрадь"/>
          <p:cNvSpPr txBox="1"/>
          <p:nvPr/>
        </p:nvSpPr>
        <p:spPr>
          <a:xfrm>
            <a:off x="6881032" y="1124301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9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48" name="Рабочая тетрадь"/>
          <p:cNvSpPr txBox="1"/>
          <p:nvPr/>
        </p:nvSpPr>
        <p:spPr>
          <a:xfrm>
            <a:off x="8631286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0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0" name="Рабочая тетрадь"/>
          <p:cNvSpPr txBox="1"/>
          <p:nvPr/>
        </p:nvSpPr>
        <p:spPr>
          <a:xfrm>
            <a:off x="10465305" y="1124250"/>
            <a:ext cx="773327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11 </a:t>
            </a:r>
            <a:r>
              <a:rPr lang="ru-RU" sz="1200" dirty="0">
                <a:solidFill>
                  <a:srgbClr val="2D3494"/>
                </a:solidFill>
                <a:latin typeface="+mn-lt"/>
              </a:rPr>
              <a:t>класс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3" name="Линия"/>
          <p:cNvSpPr>
            <a:spLocks/>
          </p:cNvSpPr>
          <p:nvPr/>
        </p:nvSpPr>
        <p:spPr>
          <a:xfrm flipH="1" flipV="1">
            <a:off x="1729017" y="1061640"/>
            <a:ext cx="747" cy="5031677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9" name="Линия"/>
          <p:cNvSpPr>
            <a:spLocks/>
          </p:cNvSpPr>
          <p:nvPr/>
        </p:nvSpPr>
        <p:spPr>
          <a:xfrm flipH="1" flipV="1">
            <a:off x="11617800" y="1087901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56" name="Линия"/>
          <p:cNvSpPr>
            <a:spLocks/>
          </p:cNvSpPr>
          <p:nvPr/>
        </p:nvSpPr>
        <p:spPr>
          <a:xfrm flipH="1" flipV="1">
            <a:off x="10381413" y="1139959"/>
            <a:ext cx="3939" cy="3519549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6" name="Линия"/>
          <p:cNvSpPr>
            <a:spLocks/>
          </p:cNvSpPr>
          <p:nvPr/>
        </p:nvSpPr>
        <p:spPr>
          <a:xfrm flipH="1" flipV="1">
            <a:off x="7908636" y="1209893"/>
            <a:ext cx="3069" cy="5005416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8" name="Линия"/>
          <p:cNvSpPr>
            <a:spLocks/>
          </p:cNvSpPr>
          <p:nvPr/>
        </p:nvSpPr>
        <p:spPr>
          <a:xfrm flipH="1" flipV="1">
            <a:off x="6672247" y="1159851"/>
            <a:ext cx="7008" cy="3499652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69" name="Линия"/>
          <p:cNvSpPr>
            <a:spLocks/>
          </p:cNvSpPr>
          <p:nvPr/>
        </p:nvSpPr>
        <p:spPr>
          <a:xfrm flipH="1" flipV="1">
            <a:off x="5435859" y="1159851"/>
            <a:ext cx="12720" cy="3499652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0" name="Линия"/>
          <p:cNvSpPr>
            <a:spLocks/>
          </p:cNvSpPr>
          <p:nvPr/>
        </p:nvSpPr>
        <p:spPr>
          <a:xfrm flipH="1" flipV="1">
            <a:off x="4199537" y="1159851"/>
            <a:ext cx="29031" cy="3499652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73" name="Линия"/>
          <p:cNvSpPr>
            <a:spLocks/>
          </p:cNvSpPr>
          <p:nvPr/>
        </p:nvSpPr>
        <p:spPr>
          <a:xfrm flipH="1" flipV="1">
            <a:off x="2963083" y="1124199"/>
            <a:ext cx="22992" cy="3535304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endParaRPr sz="1600">
              <a:solidFill>
                <a:srgbClr val="FFFFFF"/>
              </a:solidFill>
              <a:latin typeface="Calibri" panose="020F0502020204030204" pitchFamily="34" charset="0"/>
              <a:sym typeface="Helvetica Neue Medium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052531" y="115936"/>
            <a:ext cx="9002149" cy="4050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КОМПОНЕНТЫ </a:t>
            </a:r>
            <a:r>
              <a:rPr lang="ru-RU" sz="2400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НИИ УМК </a:t>
            </a:r>
            <a:r>
              <a:rPr lang="ru-RU" sz="2400" b="1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НИНА Н.И.</a:t>
            </a:r>
          </a:p>
          <a:p>
            <a:r>
              <a:rPr lang="ru-RU" sz="2400" b="1" dirty="0" smtClean="0">
                <a:solidFill>
                  <a:srgbClr val="EB2049"/>
                </a:solidFill>
                <a:cs typeface="Calibri" panose="020F0502020204030204" pitchFamily="34" charset="0"/>
              </a:rPr>
              <a:t>(линейный курс)</a:t>
            </a:r>
            <a:r>
              <a:rPr lang="ru-RU" sz="2400" b="1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endParaRPr lang="ru-RU" sz="2400" b="1" dirty="0">
              <a:solidFill>
                <a:srgbClr val="EB2049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52" name="Рабочая тетрадь"/>
          <p:cNvSpPr txBox="1"/>
          <p:nvPr/>
        </p:nvSpPr>
        <p:spPr>
          <a:xfrm>
            <a:off x="723024" y="2918991"/>
            <a:ext cx="1109479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Тетрадь для оценки качества знаний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sp>
        <p:nvSpPr>
          <p:cNvPr id="54" name="Рабочая тетрадь"/>
          <p:cNvSpPr txBox="1"/>
          <p:nvPr/>
        </p:nvSpPr>
        <p:spPr>
          <a:xfrm>
            <a:off x="723024" y="5371982"/>
            <a:ext cx="1109479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Программы</a:t>
            </a:r>
          </a:p>
        </p:txBody>
      </p:sp>
      <p:pic>
        <p:nvPicPr>
          <p:cNvPr id="55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0948" y="4338524"/>
            <a:ext cx="688247" cy="232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6" name="Рабочая тетрадь"/>
          <p:cNvSpPr txBox="1"/>
          <p:nvPr/>
        </p:nvSpPr>
        <p:spPr>
          <a:xfrm>
            <a:off x="723024" y="4154278"/>
            <a:ext cx="1109479" cy="199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ЭФУ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grpSp>
        <p:nvGrpSpPr>
          <p:cNvPr id="126" name="Группа 125"/>
          <p:cNvGrpSpPr/>
          <p:nvPr/>
        </p:nvGrpSpPr>
        <p:grpSpPr>
          <a:xfrm>
            <a:off x="1983220" y="2919459"/>
            <a:ext cx="792000" cy="1080000"/>
            <a:chOff x="2781580" y="3812558"/>
            <a:chExt cx="560349" cy="720000"/>
          </a:xfrm>
        </p:grpSpPr>
        <p:sp>
          <p:nvSpPr>
            <p:cNvPr id="127" name="Прямоугольник 126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8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30" name="Группа 129"/>
          <p:cNvGrpSpPr/>
          <p:nvPr/>
        </p:nvGrpSpPr>
        <p:grpSpPr>
          <a:xfrm>
            <a:off x="3308889" y="5021567"/>
            <a:ext cx="792000" cy="1080000"/>
            <a:chOff x="2781580" y="3812558"/>
            <a:chExt cx="560349" cy="720000"/>
          </a:xfrm>
        </p:grpSpPr>
        <p:sp>
          <p:nvSpPr>
            <p:cNvPr id="131" name="Прямоугольник 130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2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33" name="Группа 132"/>
          <p:cNvGrpSpPr/>
          <p:nvPr/>
        </p:nvGrpSpPr>
        <p:grpSpPr>
          <a:xfrm>
            <a:off x="4355957" y="5034342"/>
            <a:ext cx="792000" cy="1080000"/>
            <a:chOff x="2781580" y="3812558"/>
            <a:chExt cx="560349" cy="720000"/>
          </a:xfrm>
        </p:grpSpPr>
        <p:sp>
          <p:nvSpPr>
            <p:cNvPr id="134" name="Прямоугольник 133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5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36" name="Группа 135"/>
          <p:cNvGrpSpPr/>
          <p:nvPr/>
        </p:nvGrpSpPr>
        <p:grpSpPr>
          <a:xfrm>
            <a:off x="9431837" y="5021567"/>
            <a:ext cx="792000" cy="1080000"/>
            <a:chOff x="2781580" y="3812558"/>
            <a:chExt cx="560349" cy="720000"/>
          </a:xfrm>
        </p:grpSpPr>
        <p:sp>
          <p:nvSpPr>
            <p:cNvPr id="137" name="Прямоугольник 136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8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39" name="Группа 138"/>
          <p:cNvGrpSpPr/>
          <p:nvPr/>
        </p:nvGrpSpPr>
        <p:grpSpPr>
          <a:xfrm>
            <a:off x="10386184" y="5021567"/>
            <a:ext cx="792000" cy="1080000"/>
            <a:chOff x="2781580" y="3812558"/>
            <a:chExt cx="560349" cy="720000"/>
          </a:xfrm>
        </p:grpSpPr>
        <p:sp>
          <p:nvSpPr>
            <p:cNvPr id="140" name="Прямоугольник 139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1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grpSp>
        <p:nvGrpSpPr>
          <p:cNvPr id="142" name="Group 81"/>
          <p:cNvGrpSpPr/>
          <p:nvPr/>
        </p:nvGrpSpPr>
        <p:grpSpPr>
          <a:xfrm>
            <a:off x="2137951" y="417106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43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44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45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46" name="Group 81"/>
          <p:cNvGrpSpPr/>
          <p:nvPr/>
        </p:nvGrpSpPr>
        <p:grpSpPr>
          <a:xfrm>
            <a:off x="3322543" y="417106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47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48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49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50" name="Group 81"/>
          <p:cNvGrpSpPr/>
          <p:nvPr/>
        </p:nvGrpSpPr>
        <p:grpSpPr>
          <a:xfrm>
            <a:off x="4560403" y="417106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51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52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53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54" name="Group 81"/>
          <p:cNvGrpSpPr/>
          <p:nvPr/>
        </p:nvGrpSpPr>
        <p:grpSpPr>
          <a:xfrm>
            <a:off x="5833775" y="417106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55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56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57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58" name="Group 81"/>
          <p:cNvGrpSpPr/>
          <p:nvPr/>
        </p:nvGrpSpPr>
        <p:grpSpPr>
          <a:xfrm>
            <a:off x="7071635" y="417106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59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60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61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62" name="Group 81"/>
          <p:cNvGrpSpPr/>
          <p:nvPr/>
        </p:nvGrpSpPr>
        <p:grpSpPr>
          <a:xfrm>
            <a:off x="8833447" y="4164721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63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64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65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grpSp>
        <p:nvGrpSpPr>
          <p:cNvPr id="166" name="Group 81"/>
          <p:cNvGrpSpPr/>
          <p:nvPr/>
        </p:nvGrpSpPr>
        <p:grpSpPr>
          <a:xfrm>
            <a:off x="10750066" y="4171064"/>
            <a:ext cx="482540" cy="475496"/>
            <a:chOff x="2376488" y="1706563"/>
            <a:chExt cx="652462" cy="642938"/>
          </a:xfrm>
          <a:solidFill>
            <a:schemeClr val="bg1"/>
          </a:solidFill>
        </p:grpSpPr>
        <p:sp>
          <p:nvSpPr>
            <p:cNvPr id="167" name="Freeform 9"/>
            <p:cNvSpPr>
              <a:spLocks/>
            </p:cNvSpPr>
            <p:nvPr/>
          </p:nvSpPr>
          <p:spPr bwMode="auto">
            <a:xfrm>
              <a:off x="2514600" y="1706563"/>
              <a:ext cx="514350" cy="642938"/>
            </a:xfrm>
            <a:custGeom>
              <a:avLst/>
              <a:gdLst/>
              <a:ahLst/>
              <a:cxnLst>
                <a:cxn ang="0">
                  <a:pos x="212" y="83"/>
                </a:cxn>
                <a:cxn ang="0">
                  <a:pos x="212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4" y="4"/>
                </a:cxn>
                <a:cxn ang="0">
                  <a:pos x="1" y="9"/>
                </a:cxn>
                <a:cxn ang="0">
                  <a:pos x="0" y="14"/>
                </a:cxn>
                <a:cxn ang="0">
                  <a:pos x="0" y="159"/>
                </a:cxn>
                <a:cxn ang="0">
                  <a:pos x="43" y="159"/>
                </a:cxn>
                <a:cxn ang="0">
                  <a:pos x="43" y="159"/>
                </a:cxn>
                <a:cxn ang="0">
                  <a:pos x="49" y="161"/>
                </a:cxn>
                <a:cxn ang="0">
                  <a:pos x="55" y="162"/>
                </a:cxn>
                <a:cxn ang="0">
                  <a:pos x="60" y="164"/>
                </a:cxn>
                <a:cxn ang="0">
                  <a:pos x="65" y="169"/>
                </a:cxn>
                <a:cxn ang="0">
                  <a:pos x="68" y="173"/>
                </a:cxn>
                <a:cxn ang="0">
                  <a:pos x="71" y="178"/>
                </a:cxn>
                <a:cxn ang="0">
                  <a:pos x="73" y="183"/>
                </a:cxn>
                <a:cxn ang="0">
                  <a:pos x="73" y="189"/>
                </a:cxn>
                <a:cxn ang="0">
                  <a:pos x="73" y="303"/>
                </a:cxn>
                <a:cxn ang="0">
                  <a:pos x="73" y="303"/>
                </a:cxn>
                <a:cxn ang="0">
                  <a:pos x="84" y="304"/>
                </a:cxn>
                <a:cxn ang="0">
                  <a:pos x="92" y="308"/>
                </a:cxn>
                <a:cxn ang="0">
                  <a:pos x="97" y="312"/>
                </a:cxn>
                <a:cxn ang="0">
                  <a:pos x="98" y="317"/>
                </a:cxn>
                <a:cxn ang="0">
                  <a:pos x="98" y="317"/>
                </a:cxn>
                <a:cxn ang="0">
                  <a:pos x="100" y="320"/>
                </a:cxn>
                <a:cxn ang="0">
                  <a:pos x="100" y="327"/>
                </a:cxn>
                <a:cxn ang="0">
                  <a:pos x="97" y="335"/>
                </a:cxn>
                <a:cxn ang="0">
                  <a:pos x="91" y="344"/>
                </a:cxn>
                <a:cxn ang="0">
                  <a:pos x="30" y="405"/>
                </a:cxn>
                <a:cxn ang="0">
                  <a:pos x="309" y="405"/>
                </a:cxn>
                <a:cxn ang="0">
                  <a:pos x="309" y="405"/>
                </a:cxn>
                <a:cxn ang="0">
                  <a:pos x="314" y="403"/>
                </a:cxn>
                <a:cxn ang="0">
                  <a:pos x="319" y="400"/>
                </a:cxn>
                <a:cxn ang="0">
                  <a:pos x="322" y="395"/>
                </a:cxn>
                <a:cxn ang="0">
                  <a:pos x="324" y="391"/>
                </a:cxn>
                <a:cxn ang="0">
                  <a:pos x="324" y="111"/>
                </a:cxn>
                <a:cxn ang="0">
                  <a:pos x="241" y="111"/>
                </a:cxn>
                <a:cxn ang="0">
                  <a:pos x="241" y="111"/>
                </a:cxn>
                <a:cxn ang="0">
                  <a:pos x="236" y="111"/>
                </a:cxn>
                <a:cxn ang="0">
                  <a:pos x="229" y="110"/>
                </a:cxn>
                <a:cxn ang="0">
                  <a:pos x="225" y="106"/>
                </a:cxn>
                <a:cxn ang="0">
                  <a:pos x="220" y="103"/>
                </a:cxn>
                <a:cxn ang="0">
                  <a:pos x="217" y="98"/>
                </a:cxn>
                <a:cxn ang="0">
                  <a:pos x="215" y="94"/>
                </a:cxn>
                <a:cxn ang="0">
                  <a:pos x="213" y="87"/>
                </a:cxn>
                <a:cxn ang="0">
                  <a:pos x="212" y="83"/>
                </a:cxn>
                <a:cxn ang="0">
                  <a:pos x="212" y="83"/>
                </a:cxn>
              </a:cxnLst>
              <a:rect l="0" t="0" r="r" b="b"/>
              <a:pathLst>
                <a:path w="324" h="405">
                  <a:moveTo>
                    <a:pt x="212" y="83"/>
                  </a:moveTo>
                  <a:lnTo>
                    <a:pt x="2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4"/>
                  </a:lnTo>
                  <a:lnTo>
                    <a:pt x="0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9" y="161"/>
                  </a:lnTo>
                  <a:lnTo>
                    <a:pt x="55" y="162"/>
                  </a:lnTo>
                  <a:lnTo>
                    <a:pt x="60" y="164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71" y="178"/>
                  </a:lnTo>
                  <a:lnTo>
                    <a:pt x="73" y="183"/>
                  </a:lnTo>
                  <a:lnTo>
                    <a:pt x="73" y="189"/>
                  </a:lnTo>
                  <a:lnTo>
                    <a:pt x="73" y="303"/>
                  </a:lnTo>
                  <a:lnTo>
                    <a:pt x="73" y="303"/>
                  </a:lnTo>
                  <a:lnTo>
                    <a:pt x="84" y="304"/>
                  </a:lnTo>
                  <a:lnTo>
                    <a:pt x="92" y="308"/>
                  </a:lnTo>
                  <a:lnTo>
                    <a:pt x="97" y="312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100" y="320"/>
                  </a:lnTo>
                  <a:lnTo>
                    <a:pt x="100" y="327"/>
                  </a:lnTo>
                  <a:lnTo>
                    <a:pt x="97" y="335"/>
                  </a:lnTo>
                  <a:lnTo>
                    <a:pt x="91" y="344"/>
                  </a:lnTo>
                  <a:lnTo>
                    <a:pt x="30" y="405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4" y="403"/>
                  </a:lnTo>
                  <a:lnTo>
                    <a:pt x="319" y="400"/>
                  </a:lnTo>
                  <a:lnTo>
                    <a:pt x="322" y="395"/>
                  </a:lnTo>
                  <a:lnTo>
                    <a:pt x="324" y="391"/>
                  </a:lnTo>
                  <a:lnTo>
                    <a:pt x="324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6" y="111"/>
                  </a:lnTo>
                  <a:lnTo>
                    <a:pt x="229" y="110"/>
                  </a:lnTo>
                  <a:lnTo>
                    <a:pt x="225" y="106"/>
                  </a:lnTo>
                  <a:lnTo>
                    <a:pt x="220" y="103"/>
                  </a:lnTo>
                  <a:lnTo>
                    <a:pt x="217" y="98"/>
                  </a:lnTo>
                  <a:lnTo>
                    <a:pt x="215" y="94"/>
                  </a:lnTo>
                  <a:lnTo>
                    <a:pt x="213" y="87"/>
                  </a:lnTo>
                  <a:lnTo>
                    <a:pt x="212" y="83"/>
                  </a:lnTo>
                  <a:lnTo>
                    <a:pt x="212" y="83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68" name="Freeform 10"/>
            <p:cNvSpPr>
              <a:spLocks/>
            </p:cNvSpPr>
            <p:nvPr/>
          </p:nvSpPr>
          <p:spPr bwMode="auto">
            <a:xfrm>
              <a:off x="2873375" y="1706563"/>
              <a:ext cx="155575" cy="153988"/>
            </a:xfrm>
            <a:custGeom>
              <a:avLst/>
              <a:gdLst/>
              <a:ahLst/>
              <a:cxnLst>
                <a:cxn ang="0">
                  <a:pos x="15" y="97"/>
                </a:cxn>
                <a:cxn ang="0">
                  <a:pos x="98" y="97"/>
                </a:cxn>
                <a:cxn ang="0">
                  <a:pos x="0" y="0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2" y="87"/>
                </a:cxn>
                <a:cxn ang="0">
                  <a:pos x="5" y="92"/>
                </a:cxn>
                <a:cxn ang="0">
                  <a:pos x="10" y="95"/>
                </a:cxn>
                <a:cxn ang="0">
                  <a:pos x="15" y="97"/>
                </a:cxn>
                <a:cxn ang="0">
                  <a:pos x="15" y="97"/>
                </a:cxn>
              </a:cxnLst>
              <a:rect l="0" t="0" r="r" b="b"/>
              <a:pathLst>
                <a:path w="98" h="97">
                  <a:moveTo>
                    <a:pt x="15" y="97"/>
                  </a:moveTo>
                  <a:lnTo>
                    <a:pt x="98" y="97"/>
                  </a:lnTo>
                  <a:lnTo>
                    <a:pt x="0" y="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10" y="95"/>
                  </a:lnTo>
                  <a:lnTo>
                    <a:pt x="15" y="97"/>
                  </a:lnTo>
                  <a:lnTo>
                    <a:pt x="15" y="97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  <p:sp>
          <p:nvSpPr>
            <p:cNvPr id="169" name="Freeform 11"/>
            <p:cNvSpPr>
              <a:spLocks/>
            </p:cNvSpPr>
            <p:nvPr/>
          </p:nvSpPr>
          <p:spPr bwMode="auto">
            <a:xfrm>
              <a:off x="2376488" y="1981200"/>
              <a:ext cx="274638" cy="368300"/>
            </a:xfrm>
            <a:custGeom>
              <a:avLst/>
              <a:gdLst/>
              <a:ahLst/>
              <a:cxnLst>
                <a:cxn ang="0">
                  <a:pos x="160" y="144"/>
                </a:cxn>
                <a:cxn ang="0">
                  <a:pos x="146" y="144"/>
                </a:cxn>
                <a:cxn ang="0">
                  <a:pos x="146" y="16"/>
                </a:cxn>
                <a:cxn ang="0">
                  <a:pos x="146" y="16"/>
                </a:cxn>
                <a:cxn ang="0">
                  <a:pos x="144" y="10"/>
                </a:cxn>
                <a:cxn ang="0">
                  <a:pos x="141" y="5"/>
                </a:cxn>
                <a:cxn ang="0">
                  <a:pos x="136" y="2"/>
                </a:cxn>
                <a:cxn ang="0">
                  <a:pos x="130" y="0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37" y="2"/>
                </a:cxn>
                <a:cxn ang="0">
                  <a:pos x="32" y="5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27" y="144"/>
                </a:cxn>
                <a:cxn ang="0">
                  <a:pos x="13" y="144"/>
                </a:cxn>
                <a:cxn ang="0">
                  <a:pos x="13" y="144"/>
                </a:cxn>
                <a:cxn ang="0">
                  <a:pos x="5" y="146"/>
                </a:cxn>
                <a:cxn ang="0">
                  <a:pos x="2" y="147"/>
                </a:cxn>
                <a:cxn ang="0">
                  <a:pos x="0" y="149"/>
                </a:cxn>
                <a:cxn ang="0">
                  <a:pos x="0" y="152"/>
                </a:cxn>
                <a:cxn ang="0">
                  <a:pos x="2" y="155"/>
                </a:cxn>
                <a:cxn ang="0">
                  <a:pos x="5" y="162"/>
                </a:cxn>
                <a:cxn ang="0">
                  <a:pos x="71" y="226"/>
                </a:cxn>
                <a:cxn ang="0">
                  <a:pos x="71" y="226"/>
                </a:cxn>
                <a:cxn ang="0">
                  <a:pos x="74" y="229"/>
                </a:cxn>
                <a:cxn ang="0">
                  <a:pos x="77" y="230"/>
                </a:cxn>
                <a:cxn ang="0">
                  <a:pos x="87" y="232"/>
                </a:cxn>
                <a:cxn ang="0">
                  <a:pos x="96" y="230"/>
                </a:cxn>
                <a:cxn ang="0">
                  <a:pos x="99" y="229"/>
                </a:cxn>
                <a:cxn ang="0">
                  <a:pos x="102" y="226"/>
                </a:cxn>
                <a:cxn ang="0">
                  <a:pos x="166" y="162"/>
                </a:cxn>
                <a:cxn ang="0">
                  <a:pos x="166" y="162"/>
                </a:cxn>
                <a:cxn ang="0">
                  <a:pos x="171" y="155"/>
                </a:cxn>
                <a:cxn ang="0">
                  <a:pos x="173" y="152"/>
                </a:cxn>
                <a:cxn ang="0">
                  <a:pos x="171" y="149"/>
                </a:cxn>
                <a:cxn ang="0">
                  <a:pos x="171" y="147"/>
                </a:cxn>
                <a:cxn ang="0">
                  <a:pos x="168" y="146"/>
                </a:cxn>
                <a:cxn ang="0">
                  <a:pos x="160" y="144"/>
                </a:cxn>
                <a:cxn ang="0">
                  <a:pos x="160" y="144"/>
                </a:cxn>
              </a:cxnLst>
              <a:rect l="0" t="0" r="r" b="b"/>
              <a:pathLst>
                <a:path w="173" h="232">
                  <a:moveTo>
                    <a:pt x="160" y="144"/>
                  </a:moveTo>
                  <a:lnTo>
                    <a:pt x="146" y="14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0"/>
                  </a:lnTo>
                  <a:lnTo>
                    <a:pt x="141" y="5"/>
                  </a:lnTo>
                  <a:lnTo>
                    <a:pt x="136" y="2"/>
                  </a:lnTo>
                  <a:lnTo>
                    <a:pt x="130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29" y="10"/>
                  </a:lnTo>
                  <a:lnTo>
                    <a:pt x="27" y="16"/>
                  </a:lnTo>
                  <a:lnTo>
                    <a:pt x="27" y="144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5" y="146"/>
                  </a:lnTo>
                  <a:lnTo>
                    <a:pt x="2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5" y="162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9"/>
                  </a:lnTo>
                  <a:lnTo>
                    <a:pt x="77" y="230"/>
                  </a:lnTo>
                  <a:lnTo>
                    <a:pt x="87" y="232"/>
                  </a:lnTo>
                  <a:lnTo>
                    <a:pt x="96" y="230"/>
                  </a:lnTo>
                  <a:lnTo>
                    <a:pt x="99" y="229"/>
                  </a:lnTo>
                  <a:lnTo>
                    <a:pt x="102" y="226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71" y="155"/>
                  </a:lnTo>
                  <a:lnTo>
                    <a:pt x="173" y="152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0" y="144"/>
                  </a:lnTo>
                  <a:lnTo>
                    <a:pt x="160" y="144"/>
                  </a:lnTo>
                  <a:close/>
                </a:path>
              </a:pathLst>
            </a:custGeom>
            <a:grpFill/>
            <a:ln w="12700">
              <a:solidFill>
                <a:srgbClr val="2D3494"/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2D3494"/>
                </a:solidFill>
              </a:endParaRPr>
            </a:p>
          </p:txBody>
        </p:sp>
      </p:grpSp>
      <p:sp>
        <p:nvSpPr>
          <p:cNvPr id="170" name="Рабочая тетрадь"/>
          <p:cNvSpPr txBox="1"/>
          <p:nvPr/>
        </p:nvSpPr>
        <p:spPr>
          <a:xfrm>
            <a:off x="723024" y="1921396"/>
            <a:ext cx="1109479" cy="3467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 smtClean="0">
                <a:solidFill>
                  <a:srgbClr val="2D3494"/>
                </a:solidFill>
                <a:latin typeface="+mn-lt"/>
              </a:rPr>
              <a:t>Методические пособия </a:t>
            </a:r>
            <a:endParaRPr sz="1200" dirty="0">
              <a:solidFill>
                <a:srgbClr val="2D3494"/>
              </a:solidFill>
              <a:latin typeface="+mn-lt"/>
            </a:endParaRPr>
          </a:p>
        </p:txBody>
      </p:sp>
      <p:pic>
        <p:nvPicPr>
          <p:cNvPr id="171" name="Picture 8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4708" y="1655742"/>
            <a:ext cx="792000" cy="1170269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2" name="Picture 8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594139" y="1655742"/>
            <a:ext cx="792000" cy="1150285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3" name="Picture 1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904995" y="1655740"/>
            <a:ext cx="792000" cy="1106974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4" name="Picture 1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986139" y="1655740"/>
            <a:ext cx="792000" cy="1097323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5" name="Picture 13"/>
          <p:cNvPicPr>
            <a:picLocks noChangeAspect="1" noChangeArrowheads="1"/>
          </p:cNvPicPr>
          <p:nvPr/>
        </p:nvPicPr>
        <p:blipFill>
          <a:blip r:embed="rId12" cstate="print"/>
          <a:srcRect b="8747"/>
          <a:stretch>
            <a:fillRect/>
          </a:stretch>
        </p:blipFill>
        <p:spPr bwMode="auto">
          <a:xfrm>
            <a:off x="5675280" y="1655740"/>
            <a:ext cx="792000" cy="1094358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6" name="Picture 1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215853" y="1655743"/>
            <a:ext cx="792000" cy="1127515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7" name="Picture 15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445567" y="1655742"/>
            <a:ext cx="792000" cy="1118385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78" name="Группа 177"/>
          <p:cNvGrpSpPr/>
          <p:nvPr/>
        </p:nvGrpSpPr>
        <p:grpSpPr>
          <a:xfrm>
            <a:off x="9364423" y="1670143"/>
            <a:ext cx="792000" cy="1080000"/>
            <a:chOff x="2781580" y="3812558"/>
            <a:chExt cx="560349" cy="720000"/>
          </a:xfrm>
        </p:grpSpPr>
        <p:sp>
          <p:nvSpPr>
            <p:cNvPr id="179" name="Прямоугольник 178">
              <a:extLst>
                <a:ext uri="{FF2B5EF4-FFF2-40B4-BE49-F238E27FC236}">
                  <a16:creationId xmlns="" xmlns:a16="http://schemas.microsoft.com/office/drawing/2014/main" id="{1C2692E9-7A2A-1A4A-B160-D4BD9DCB2E72}"/>
                </a:ext>
              </a:extLst>
            </p:cNvPr>
            <p:cNvSpPr/>
            <p:nvPr/>
          </p:nvSpPr>
          <p:spPr>
            <a:xfrm>
              <a:off x="2781580" y="3812558"/>
              <a:ext cx="560349" cy="7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80" name="Picture 19" descr="C:\Users\zgonnik.m\Desktop\RU_katalog_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24032" y="3940182"/>
              <a:ext cx="292679" cy="292679"/>
            </a:xfrm>
            <a:prstGeom prst="rect">
              <a:avLst/>
            </a:prstGeom>
            <a:noFill/>
          </p:spPr>
        </p:pic>
      </p:grpSp>
      <p:sp>
        <p:nvSpPr>
          <p:cNvPr id="82" name="Freeform 159"/>
          <p:cNvSpPr>
            <a:spLocks noEditPoints="1"/>
          </p:cNvSpPr>
          <p:nvPr/>
        </p:nvSpPr>
        <p:spPr bwMode="auto">
          <a:xfrm>
            <a:off x="384889" y="280929"/>
            <a:ext cx="504751" cy="432618"/>
          </a:xfrm>
          <a:custGeom>
            <a:avLst/>
            <a:gdLst/>
            <a:ahLst/>
            <a:cxnLst>
              <a:cxn ang="0">
                <a:pos x="178" y="307"/>
              </a:cxn>
              <a:cxn ang="0">
                <a:pos x="179" y="333"/>
              </a:cxn>
              <a:cxn ang="0">
                <a:pos x="183" y="352"/>
              </a:cxn>
              <a:cxn ang="0">
                <a:pos x="174" y="357"/>
              </a:cxn>
              <a:cxn ang="0">
                <a:pos x="7" y="241"/>
              </a:cxn>
              <a:cxn ang="0">
                <a:pos x="0" y="211"/>
              </a:cxn>
              <a:cxn ang="0">
                <a:pos x="4" y="188"/>
              </a:cxn>
              <a:cxn ang="0">
                <a:pos x="11" y="175"/>
              </a:cxn>
              <a:cxn ang="0">
                <a:pos x="19" y="177"/>
              </a:cxn>
              <a:cxn ang="0">
                <a:pos x="183" y="288"/>
              </a:cxn>
              <a:cxn ang="0">
                <a:pos x="183" y="294"/>
              </a:cxn>
              <a:cxn ang="0">
                <a:pos x="205" y="262"/>
              </a:cxn>
              <a:cxn ang="0">
                <a:pos x="198" y="254"/>
              </a:cxn>
              <a:cxn ang="0">
                <a:pos x="347" y="173"/>
              </a:cxn>
              <a:cxn ang="0">
                <a:pos x="356" y="174"/>
              </a:cxn>
              <a:cxn ang="0">
                <a:pos x="358" y="183"/>
              </a:cxn>
              <a:cxn ang="0">
                <a:pos x="211" y="260"/>
              </a:cxn>
              <a:cxn ang="0">
                <a:pos x="348" y="148"/>
              </a:cxn>
              <a:cxn ang="0">
                <a:pos x="344" y="144"/>
              </a:cxn>
              <a:cxn ang="0">
                <a:pos x="200" y="220"/>
              </a:cxn>
              <a:cxn ang="0">
                <a:pos x="204" y="222"/>
              </a:cxn>
              <a:cxn ang="0">
                <a:pos x="206" y="188"/>
              </a:cxn>
              <a:cxn ang="0">
                <a:pos x="348" y="117"/>
              </a:cxn>
              <a:cxn ang="0">
                <a:pos x="349" y="108"/>
              </a:cxn>
              <a:cxn ang="0">
                <a:pos x="38" y="66"/>
              </a:cxn>
              <a:cxn ang="0">
                <a:pos x="33" y="75"/>
              </a:cxn>
              <a:cxn ang="0">
                <a:pos x="37" y="81"/>
              </a:cxn>
              <a:cxn ang="0">
                <a:pos x="196" y="205"/>
              </a:cxn>
              <a:cxn ang="0">
                <a:pos x="195" y="197"/>
              </a:cxn>
              <a:cxn ang="0">
                <a:pos x="31" y="86"/>
              </a:cxn>
              <a:cxn ang="0">
                <a:pos x="22" y="88"/>
              </a:cxn>
              <a:cxn ang="0">
                <a:pos x="14" y="107"/>
              </a:cxn>
              <a:cxn ang="0">
                <a:pos x="13" y="131"/>
              </a:cxn>
              <a:cxn ang="0">
                <a:pos x="23" y="156"/>
              </a:cxn>
              <a:cxn ang="0">
                <a:pos x="191" y="268"/>
              </a:cxn>
              <a:cxn ang="0">
                <a:pos x="196" y="260"/>
              </a:cxn>
              <a:cxn ang="0">
                <a:pos x="189" y="231"/>
              </a:cxn>
              <a:cxn ang="0">
                <a:pos x="192" y="211"/>
              </a:cxn>
              <a:cxn ang="0">
                <a:pos x="342" y="277"/>
              </a:cxn>
              <a:cxn ang="0">
                <a:pos x="345" y="270"/>
              </a:cxn>
              <a:cxn ang="0">
                <a:pos x="340" y="262"/>
              </a:cxn>
              <a:cxn ang="0">
                <a:pos x="191" y="334"/>
              </a:cxn>
              <a:cxn ang="0">
                <a:pos x="187" y="346"/>
              </a:cxn>
              <a:cxn ang="0">
                <a:pos x="195" y="351"/>
              </a:cxn>
              <a:cxn ang="0">
                <a:pos x="334" y="239"/>
              </a:cxn>
              <a:cxn ang="0">
                <a:pos x="335" y="235"/>
              </a:cxn>
              <a:cxn ang="0">
                <a:pos x="188" y="306"/>
              </a:cxn>
              <a:cxn ang="0">
                <a:pos x="189" y="311"/>
              </a:cxn>
            </a:cxnLst>
            <a:rect l="0" t="0" r="r" b="b"/>
            <a:pathLst>
              <a:path w="358" h="357">
                <a:moveTo>
                  <a:pt x="183" y="294"/>
                </a:moveTo>
                <a:lnTo>
                  <a:pt x="183" y="294"/>
                </a:lnTo>
                <a:lnTo>
                  <a:pt x="180" y="301"/>
                </a:lnTo>
                <a:lnTo>
                  <a:pt x="178" y="307"/>
                </a:lnTo>
                <a:lnTo>
                  <a:pt x="176" y="313"/>
                </a:lnTo>
                <a:lnTo>
                  <a:pt x="176" y="320"/>
                </a:lnTo>
                <a:lnTo>
                  <a:pt x="176" y="320"/>
                </a:lnTo>
                <a:lnTo>
                  <a:pt x="179" y="333"/>
                </a:lnTo>
                <a:lnTo>
                  <a:pt x="183" y="346"/>
                </a:lnTo>
                <a:lnTo>
                  <a:pt x="183" y="346"/>
                </a:lnTo>
                <a:lnTo>
                  <a:pt x="183" y="348"/>
                </a:lnTo>
                <a:lnTo>
                  <a:pt x="183" y="352"/>
                </a:lnTo>
                <a:lnTo>
                  <a:pt x="180" y="355"/>
                </a:lnTo>
                <a:lnTo>
                  <a:pt x="178" y="356"/>
                </a:lnTo>
                <a:lnTo>
                  <a:pt x="178" y="356"/>
                </a:lnTo>
                <a:lnTo>
                  <a:pt x="174" y="357"/>
                </a:lnTo>
                <a:lnTo>
                  <a:pt x="170" y="355"/>
                </a:lnTo>
                <a:lnTo>
                  <a:pt x="10" y="245"/>
                </a:lnTo>
                <a:lnTo>
                  <a:pt x="10" y="245"/>
                </a:lnTo>
                <a:lnTo>
                  <a:pt x="7" y="241"/>
                </a:lnTo>
                <a:lnTo>
                  <a:pt x="7" y="241"/>
                </a:lnTo>
                <a:lnTo>
                  <a:pt x="2" y="227"/>
                </a:lnTo>
                <a:lnTo>
                  <a:pt x="1" y="219"/>
                </a:lnTo>
                <a:lnTo>
                  <a:pt x="0" y="211"/>
                </a:lnTo>
                <a:lnTo>
                  <a:pt x="0" y="211"/>
                </a:lnTo>
                <a:lnTo>
                  <a:pt x="0" y="204"/>
                </a:lnTo>
                <a:lnTo>
                  <a:pt x="1" y="196"/>
                </a:lnTo>
                <a:lnTo>
                  <a:pt x="4" y="188"/>
                </a:lnTo>
                <a:lnTo>
                  <a:pt x="6" y="179"/>
                </a:lnTo>
                <a:lnTo>
                  <a:pt x="6" y="179"/>
                </a:lnTo>
                <a:lnTo>
                  <a:pt x="9" y="177"/>
                </a:lnTo>
                <a:lnTo>
                  <a:pt x="11" y="175"/>
                </a:lnTo>
                <a:lnTo>
                  <a:pt x="15" y="174"/>
                </a:lnTo>
                <a:lnTo>
                  <a:pt x="18" y="175"/>
                </a:lnTo>
                <a:lnTo>
                  <a:pt x="18" y="175"/>
                </a:lnTo>
                <a:lnTo>
                  <a:pt x="19" y="177"/>
                </a:lnTo>
                <a:lnTo>
                  <a:pt x="180" y="284"/>
                </a:lnTo>
                <a:lnTo>
                  <a:pt x="180" y="284"/>
                </a:lnTo>
                <a:lnTo>
                  <a:pt x="182" y="285"/>
                </a:lnTo>
                <a:lnTo>
                  <a:pt x="183" y="288"/>
                </a:lnTo>
                <a:lnTo>
                  <a:pt x="183" y="291"/>
                </a:lnTo>
                <a:lnTo>
                  <a:pt x="183" y="294"/>
                </a:lnTo>
                <a:lnTo>
                  <a:pt x="183" y="294"/>
                </a:lnTo>
                <a:lnTo>
                  <a:pt x="183" y="294"/>
                </a:lnTo>
                <a:close/>
                <a:moveTo>
                  <a:pt x="211" y="260"/>
                </a:moveTo>
                <a:lnTo>
                  <a:pt x="211" y="260"/>
                </a:lnTo>
                <a:lnTo>
                  <a:pt x="207" y="262"/>
                </a:lnTo>
                <a:lnTo>
                  <a:pt x="205" y="262"/>
                </a:lnTo>
                <a:lnTo>
                  <a:pt x="201" y="259"/>
                </a:lnTo>
                <a:lnTo>
                  <a:pt x="200" y="257"/>
                </a:lnTo>
                <a:lnTo>
                  <a:pt x="200" y="257"/>
                </a:lnTo>
                <a:lnTo>
                  <a:pt x="198" y="254"/>
                </a:lnTo>
                <a:lnTo>
                  <a:pt x="198" y="250"/>
                </a:lnTo>
                <a:lnTo>
                  <a:pt x="201" y="248"/>
                </a:lnTo>
                <a:lnTo>
                  <a:pt x="204" y="245"/>
                </a:lnTo>
                <a:lnTo>
                  <a:pt x="347" y="173"/>
                </a:lnTo>
                <a:lnTo>
                  <a:pt x="347" y="173"/>
                </a:lnTo>
                <a:lnTo>
                  <a:pt x="349" y="173"/>
                </a:lnTo>
                <a:lnTo>
                  <a:pt x="353" y="173"/>
                </a:lnTo>
                <a:lnTo>
                  <a:pt x="356" y="174"/>
                </a:lnTo>
                <a:lnTo>
                  <a:pt x="358" y="177"/>
                </a:lnTo>
                <a:lnTo>
                  <a:pt x="358" y="177"/>
                </a:lnTo>
                <a:lnTo>
                  <a:pt x="358" y="180"/>
                </a:lnTo>
                <a:lnTo>
                  <a:pt x="358" y="183"/>
                </a:lnTo>
                <a:lnTo>
                  <a:pt x="357" y="187"/>
                </a:lnTo>
                <a:lnTo>
                  <a:pt x="355" y="188"/>
                </a:lnTo>
                <a:lnTo>
                  <a:pt x="211" y="260"/>
                </a:lnTo>
                <a:lnTo>
                  <a:pt x="211" y="260"/>
                </a:lnTo>
                <a:close/>
                <a:moveTo>
                  <a:pt x="204" y="222"/>
                </a:moveTo>
                <a:lnTo>
                  <a:pt x="347" y="149"/>
                </a:lnTo>
                <a:lnTo>
                  <a:pt x="347" y="149"/>
                </a:lnTo>
                <a:lnTo>
                  <a:pt x="348" y="148"/>
                </a:lnTo>
                <a:lnTo>
                  <a:pt x="348" y="146"/>
                </a:lnTo>
                <a:lnTo>
                  <a:pt x="348" y="146"/>
                </a:lnTo>
                <a:lnTo>
                  <a:pt x="347" y="144"/>
                </a:lnTo>
                <a:lnTo>
                  <a:pt x="344" y="144"/>
                </a:lnTo>
                <a:lnTo>
                  <a:pt x="201" y="217"/>
                </a:lnTo>
                <a:lnTo>
                  <a:pt x="201" y="217"/>
                </a:lnTo>
                <a:lnTo>
                  <a:pt x="200" y="219"/>
                </a:lnTo>
                <a:lnTo>
                  <a:pt x="200" y="220"/>
                </a:lnTo>
                <a:lnTo>
                  <a:pt x="200" y="220"/>
                </a:lnTo>
                <a:lnTo>
                  <a:pt x="201" y="222"/>
                </a:lnTo>
                <a:lnTo>
                  <a:pt x="204" y="222"/>
                </a:lnTo>
                <a:lnTo>
                  <a:pt x="204" y="222"/>
                </a:lnTo>
                <a:close/>
                <a:moveTo>
                  <a:pt x="197" y="188"/>
                </a:moveTo>
                <a:lnTo>
                  <a:pt x="197" y="188"/>
                </a:lnTo>
                <a:lnTo>
                  <a:pt x="202" y="190"/>
                </a:lnTo>
                <a:lnTo>
                  <a:pt x="206" y="188"/>
                </a:lnTo>
                <a:lnTo>
                  <a:pt x="206" y="188"/>
                </a:lnTo>
                <a:lnTo>
                  <a:pt x="345" y="120"/>
                </a:lnTo>
                <a:lnTo>
                  <a:pt x="345" y="120"/>
                </a:lnTo>
                <a:lnTo>
                  <a:pt x="348" y="117"/>
                </a:lnTo>
                <a:lnTo>
                  <a:pt x="351" y="115"/>
                </a:lnTo>
                <a:lnTo>
                  <a:pt x="351" y="111"/>
                </a:lnTo>
                <a:lnTo>
                  <a:pt x="349" y="108"/>
                </a:lnTo>
                <a:lnTo>
                  <a:pt x="349" y="108"/>
                </a:lnTo>
                <a:lnTo>
                  <a:pt x="348" y="106"/>
                </a:lnTo>
                <a:lnTo>
                  <a:pt x="347" y="104"/>
                </a:lnTo>
                <a:lnTo>
                  <a:pt x="185" y="0"/>
                </a:lnTo>
                <a:lnTo>
                  <a:pt x="38" y="66"/>
                </a:lnTo>
                <a:lnTo>
                  <a:pt x="38" y="66"/>
                </a:lnTo>
                <a:lnTo>
                  <a:pt x="36" y="68"/>
                </a:lnTo>
                <a:lnTo>
                  <a:pt x="35" y="71"/>
                </a:lnTo>
                <a:lnTo>
                  <a:pt x="33" y="75"/>
                </a:lnTo>
                <a:lnTo>
                  <a:pt x="35" y="77"/>
                </a:lnTo>
                <a:lnTo>
                  <a:pt x="35" y="77"/>
                </a:lnTo>
                <a:lnTo>
                  <a:pt x="37" y="81"/>
                </a:lnTo>
                <a:lnTo>
                  <a:pt x="37" y="81"/>
                </a:lnTo>
                <a:lnTo>
                  <a:pt x="197" y="188"/>
                </a:lnTo>
                <a:lnTo>
                  <a:pt x="197" y="188"/>
                </a:lnTo>
                <a:close/>
                <a:moveTo>
                  <a:pt x="196" y="205"/>
                </a:moveTo>
                <a:lnTo>
                  <a:pt x="196" y="205"/>
                </a:lnTo>
                <a:lnTo>
                  <a:pt x="196" y="205"/>
                </a:lnTo>
                <a:lnTo>
                  <a:pt x="196" y="202"/>
                </a:lnTo>
                <a:lnTo>
                  <a:pt x="196" y="200"/>
                </a:lnTo>
                <a:lnTo>
                  <a:pt x="195" y="197"/>
                </a:lnTo>
                <a:lnTo>
                  <a:pt x="192" y="195"/>
                </a:lnTo>
                <a:lnTo>
                  <a:pt x="32" y="88"/>
                </a:lnTo>
                <a:lnTo>
                  <a:pt x="32" y="88"/>
                </a:lnTo>
                <a:lnTo>
                  <a:pt x="31" y="86"/>
                </a:lnTo>
                <a:lnTo>
                  <a:pt x="31" y="86"/>
                </a:lnTo>
                <a:lnTo>
                  <a:pt x="28" y="86"/>
                </a:lnTo>
                <a:lnTo>
                  <a:pt x="24" y="86"/>
                </a:lnTo>
                <a:lnTo>
                  <a:pt x="22" y="88"/>
                </a:lnTo>
                <a:lnTo>
                  <a:pt x="19" y="90"/>
                </a:lnTo>
                <a:lnTo>
                  <a:pt x="19" y="90"/>
                </a:lnTo>
                <a:lnTo>
                  <a:pt x="16" y="99"/>
                </a:lnTo>
                <a:lnTo>
                  <a:pt x="14" y="107"/>
                </a:lnTo>
                <a:lnTo>
                  <a:pt x="13" y="116"/>
                </a:lnTo>
                <a:lnTo>
                  <a:pt x="13" y="124"/>
                </a:lnTo>
                <a:lnTo>
                  <a:pt x="13" y="124"/>
                </a:lnTo>
                <a:lnTo>
                  <a:pt x="13" y="131"/>
                </a:lnTo>
                <a:lnTo>
                  <a:pt x="15" y="138"/>
                </a:lnTo>
                <a:lnTo>
                  <a:pt x="20" y="152"/>
                </a:lnTo>
                <a:lnTo>
                  <a:pt x="20" y="152"/>
                </a:lnTo>
                <a:lnTo>
                  <a:pt x="23" y="156"/>
                </a:lnTo>
                <a:lnTo>
                  <a:pt x="183" y="266"/>
                </a:lnTo>
                <a:lnTo>
                  <a:pt x="183" y="266"/>
                </a:lnTo>
                <a:lnTo>
                  <a:pt x="187" y="268"/>
                </a:lnTo>
                <a:lnTo>
                  <a:pt x="191" y="268"/>
                </a:lnTo>
                <a:lnTo>
                  <a:pt x="191" y="268"/>
                </a:lnTo>
                <a:lnTo>
                  <a:pt x="193" y="266"/>
                </a:lnTo>
                <a:lnTo>
                  <a:pt x="196" y="263"/>
                </a:lnTo>
                <a:lnTo>
                  <a:pt x="196" y="260"/>
                </a:lnTo>
                <a:lnTo>
                  <a:pt x="196" y="257"/>
                </a:lnTo>
                <a:lnTo>
                  <a:pt x="196" y="257"/>
                </a:lnTo>
                <a:lnTo>
                  <a:pt x="192" y="244"/>
                </a:lnTo>
                <a:lnTo>
                  <a:pt x="189" y="231"/>
                </a:lnTo>
                <a:lnTo>
                  <a:pt x="189" y="231"/>
                </a:lnTo>
                <a:lnTo>
                  <a:pt x="189" y="224"/>
                </a:lnTo>
                <a:lnTo>
                  <a:pt x="191" y="218"/>
                </a:lnTo>
                <a:lnTo>
                  <a:pt x="192" y="211"/>
                </a:lnTo>
                <a:lnTo>
                  <a:pt x="196" y="205"/>
                </a:lnTo>
                <a:lnTo>
                  <a:pt x="196" y="205"/>
                </a:lnTo>
                <a:close/>
                <a:moveTo>
                  <a:pt x="198" y="350"/>
                </a:moveTo>
                <a:lnTo>
                  <a:pt x="342" y="277"/>
                </a:lnTo>
                <a:lnTo>
                  <a:pt x="342" y="277"/>
                </a:lnTo>
                <a:lnTo>
                  <a:pt x="344" y="275"/>
                </a:lnTo>
                <a:lnTo>
                  <a:pt x="345" y="272"/>
                </a:lnTo>
                <a:lnTo>
                  <a:pt x="345" y="270"/>
                </a:lnTo>
                <a:lnTo>
                  <a:pt x="345" y="266"/>
                </a:lnTo>
                <a:lnTo>
                  <a:pt x="345" y="266"/>
                </a:lnTo>
                <a:lnTo>
                  <a:pt x="343" y="263"/>
                </a:lnTo>
                <a:lnTo>
                  <a:pt x="340" y="262"/>
                </a:lnTo>
                <a:lnTo>
                  <a:pt x="336" y="260"/>
                </a:lnTo>
                <a:lnTo>
                  <a:pt x="334" y="262"/>
                </a:lnTo>
                <a:lnTo>
                  <a:pt x="191" y="334"/>
                </a:lnTo>
                <a:lnTo>
                  <a:pt x="191" y="334"/>
                </a:lnTo>
                <a:lnTo>
                  <a:pt x="188" y="337"/>
                </a:lnTo>
                <a:lnTo>
                  <a:pt x="187" y="339"/>
                </a:lnTo>
                <a:lnTo>
                  <a:pt x="185" y="342"/>
                </a:lnTo>
                <a:lnTo>
                  <a:pt x="187" y="346"/>
                </a:lnTo>
                <a:lnTo>
                  <a:pt x="187" y="346"/>
                </a:lnTo>
                <a:lnTo>
                  <a:pt x="189" y="348"/>
                </a:lnTo>
                <a:lnTo>
                  <a:pt x="192" y="350"/>
                </a:lnTo>
                <a:lnTo>
                  <a:pt x="195" y="351"/>
                </a:lnTo>
                <a:lnTo>
                  <a:pt x="198" y="350"/>
                </a:lnTo>
                <a:lnTo>
                  <a:pt x="198" y="350"/>
                </a:lnTo>
                <a:close/>
                <a:moveTo>
                  <a:pt x="191" y="311"/>
                </a:moveTo>
                <a:lnTo>
                  <a:pt x="334" y="239"/>
                </a:lnTo>
                <a:lnTo>
                  <a:pt x="334" y="239"/>
                </a:lnTo>
                <a:lnTo>
                  <a:pt x="335" y="237"/>
                </a:lnTo>
                <a:lnTo>
                  <a:pt x="335" y="235"/>
                </a:lnTo>
                <a:lnTo>
                  <a:pt x="335" y="235"/>
                </a:lnTo>
                <a:lnTo>
                  <a:pt x="334" y="233"/>
                </a:lnTo>
                <a:lnTo>
                  <a:pt x="331" y="233"/>
                </a:lnTo>
                <a:lnTo>
                  <a:pt x="188" y="306"/>
                </a:lnTo>
                <a:lnTo>
                  <a:pt x="188" y="306"/>
                </a:lnTo>
                <a:lnTo>
                  <a:pt x="187" y="307"/>
                </a:lnTo>
                <a:lnTo>
                  <a:pt x="187" y="310"/>
                </a:lnTo>
                <a:lnTo>
                  <a:pt x="187" y="310"/>
                </a:lnTo>
                <a:lnTo>
                  <a:pt x="189" y="311"/>
                </a:lnTo>
                <a:lnTo>
                  <a:pt x="191" y="311"/>
                </a:lnTo>
                <a:lnTo>
                  <a:pt x="191" y="311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>
              <a:solidFill>
                <a:schemeClr val="accent3"/>
              </a:solidFill>
            </a:endParaRPr>
          </a:p>
        </p:txBody>
      </p:sp>
      <p:sp>
        <p:nvSpPr>
          <p:cNvPr id="83" name="Овал 82"/>
          <p:cNvSpPr/>
          <p:nvPr/>
        </p:nvSpPr>
        <p:spPr>
          <a:xfrm>
            <a:off x="277575" y="140942"/>
            <a:ext cx="701952" cy="701952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84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0948" y="2265741"/>
            <a:ext cx="688247" cy="232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5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0948" y="5583909"/>
            <a:ext cx="688247" cy="232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649621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79047267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48877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grpSp>
        <p:nvGrpSpPr>
          <p:cNvPr id="39" name="Группа 38"/>
          <p:cNvGrpSpPr/>
          <p:nvPr/>
        </p:nvGrpSpPr>
        <p:grpSpPr>
          <a:xfrm>
            <a:off x="7645144" y="1341127"/>
            <a:ext cx="838141" cy="1126800"/>
            <a:chOff x="7176913" y="1335918"/>
            <a:chExt cx="838141" cy="1126800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7176913" y="1335918"/>
              <a:ext cx="838141" cy="11268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FFFFFF"/>
                </a:solidFill>
              </a:endParaRPr>
            </a:p>
          </p:txBody>
        </p:sp>
        <p:pic>
          <p:nvPicPr>
            <p:cNvPr id="41" name="Рисунок 40"/>
            <p:cNvPicPr>
              <a:picLocks noChangeAspect="1"/>
            </p:cNvPicPr>
            <p:nvPr/>
          </p:nvPicPr>
          <p:blipFill rotWithShape="1">
            <a:blip r:embed="rId6" cstate="print"/>
            <a:srcRect r="77536" b="7452"/>
            <a:stretch/>
          </p:blipFill>
          <p:spPr>
            <a:xfrm>
              <a:off x="7288479" y="1620909"/>
              <a:ext cx="682891" cy="667836"/>
            </a:xfrm>
            <a:prstGeom prst="rect">
              <a:avLst/>
            </a:prstGeom>
          </p:spPr>
        </p:pic>
      </p:grpSp>
      <p:sp>
        <p:nvSpPr>
          <p:cNvPr id="6" name="Прямоугольник 5"/>
          <p:cNvSpPr/>
          <p:nvPr/>
        </p:nvSpPr>
        <p:spPr>
          <a:xfrm>
            <a:off x="2879292" y="1579306"/>
            <a:ext cx="2340000" cy="64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rgbClr val="181818"/>
                </a:solidFill>
              </a:rPr>
              <a:t>Линия УМК </a:t>
            </a:r>
            <a:r>
              <a:rPr lang="ru-RU" sz="1100" dirty="0" smtClean="0">
                <a:solidFill>
                  <a:srgbClr val="181818"/>
                </a:solidFill>
              </a:rPr>
              <a:t>Сонина Н.И. (концентрическая, 5-9 </a:t>
            </a:r>
            <a:r>
              <a:rPr lang="ru-RU" sz="1100" dirty="0">
                <a:solidFill>
                  <a:srgbClr val="181818"/>
                </a:solidFill>
              </a:rPr>
              <a:t>класс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608093" y="1339906"/>
            <a:ext cx="3074712" cy="11268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Линия УМК </a:t>
            </a:r>
            <a:r>
              <a:rPr lang="ru-RU" sz="1400" b="1" dirty="0" err="1" smtClean="0">
                <a:solidFill>
                  <a:srgbClr val="FFFFFF"/>
                </a:solidFill>
              </a:rPr>
              <a:t>Сивоглазова</a:t>
            </a:r>
            <a:r>
              <a:rPr lang="ru-RU" sz="1400" b="1" dirty="0" smtClean="0">
                <a:solidFill>
                  <a:srgbClr val="FFFFFF"/>
                </a:solidFill>
              </a:rPr>
              <a:t> В. И. (концентрическая, 5-9 </a:t>
            </a:r>
            <a:r>
              <a:rPr lang="ru-RU" sz="1400" b="1" dirty="0">
                <a:solidFill>
                  <a:srgbClr val="FFFFFF"/>
                </a:solidFill>
              </a:rPr>
              <a:t>класс)</a:t>
            </a:r>
          </a:p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</a:rPr>
              <a:t>ФП № </a:t>
            </a:r>
            <a:r>
              <a:rPr lang="ru-RU" sz="1400" b="1" dirty="0" smtClean="0">
                <a:solidFill>
                  <a:srgbClr val="FFFFFF"/>
                </a:solidFill>
              </a:rPr>
              <a:t>1.2.5.2.5.1 – 1.2.5.2.5.5 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81396" y="2872390"/>
            <a:ext cx="1061320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 smtClean="0">
                <a:solidFill>
                  <a:srgbClr val="181818"/>
                </a:solidFill>
              </a:rPr>
              <a:t>Единая методическая концепция обеспечивает самый оптимальный и продуктивный переход на УМК </a:t>
            </a:r>
            <a:r>
              <a:rPr lang="ru-RU" sz="1400" dirty="0" err="1" smtClean="0">
                <a:solidFill>
                  <a:srgbClr val="181818"/>
                </a:solidFill>
              </a:rPr>
              <a:t>Сивоглазова</a:t>
            </a:r>
            <a:r>
              <a:rPr lang="ru-RU" sz="1400" dirty="0" smtClean="0">
                <a:solidFill>
                  <a:srgbClr val="181818"/>
                </a:solidFill>
              </a:rPr>
              <a:t> В.И., в т.ч. и в 9 классе.  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863591" y="6401964"/>
            <a:ext cx="842421" cy="216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727696" y="6394548"/>
            <a:ext cx="1142383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900" dirty="0" smtClean="0">
                <a:solidFill>
                  <a:srgbClr val="181818">
                    <a:lumMod val="75000"/>
                    <a:lumOff val="25000"/>
                  </a:srgbClr>
                </a:solidFill>
              </a:rPr>
              <a:t>Учебники ФП 2018</a:t>
            </a:r>
            <a:endParaRPr lang="ru-RU" sz="900" dirty="0">
              <a:solidFill>
                <a:srgbClr val="181818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423429" y="6394548"/>
            <a:ext cx="1252072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900" dirty="0" smtClean="0">
                <a:solidFill>
                  <a:srgbClr val="181818">
                    <a:lumMod val="75000"/>
                    <a:lumOff val="25000"/>
                  </a:srgbClr>
                </a:solidFill>
              </a:rPr>
              <a:t>Учебники ФП 201</a:t>
            </a:r>
            <a:r>
              <a:rPr lang="en-US" sz="900" dirty="0" smtClean="0">
                <a:solidFill>
                  <a:srgbClr val="181818">
                    <a:lumMod val="75000"/>
                    <a:lumOff val="25000"/>
                  </a:srgbClr>
                </a:solidFill>
              </a:rPr>
              <a:t>4</a:t>
            </a:r>
            <a:endParaRPr lang="ru-RU" sz="900" dirty="0">
              <a:solidFill>
                <a:srgbClr val="181818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59336" y="6401964"/>
            <a:ext cx="842421" cy="2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>
              <a:solidFill>
                <a:srgbClr val="181818"/>
              </a:solidFill>
            </a:endParaRPr>
          </a:p>
        </p:txBody>
      </p:sp>
      <p:grpSp>
        <p:nvGrpSpPr>
          <p:cNvPr id="9" name="Group 115"/>
          <p:cNvGrpSpPr/>
          <p:nvPr/>
        </p:nvGrpSpPr>
        <p:grpSpPr>
          <a:xfrm>
            <a:off x="5958667" y="1588306"/>
            <a:ext cx="470487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29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  <p:sp>
          <p:nvSpPr>
            <p:cNvPr id="30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>
                <a:solidFill>
                  <a:srgbClr val="181818"/>
                </a:solidFill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0" y="5688724"/>
            <a:ext cx="12192000" cy="422146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300" dirty="0" smtClean="0">
                <a:solidFill>
                  <a:srgbClr val="FFFFFF"/>
                </a:solidFill>
                <a:cs typeface="Calibri" panose="020F0502020204030204" pitchFamily="34" charset="0"/>
              </a:rPr>
              <a:t>Подробные методические рекомендации и </a:t>
            </a:r>
            <a:r>
              <a:rPr lang="ru-RU" sz="1300" dirty="0" err="1" smtClean="0">
                <a:solidFill>
                  <a:srgbClr val="FFFFFF"/>
                </a:solidFill>
                <a:cs typeface="Calibri" panose="020F0502020204030204" pitchFamily="34" charset="0"/>
              </a:rPr>
              <a:t>вебинары</a:t>
            </a:r>
            <a:r>
              <a:rPr lang="ru-RU" sz="1300" dirty="0" smtClean="0">
                <a:solidFill>
                  <a:srgbClr val="FFFFFF"/>
                </a:solidFill>
                <a:cs typeface="Calibri" panose="020F0502020204030204" pitchFamily="34" charset="0"/>
              </a:rPr>
              <a:t> см. по ссылке: </a:t>
            </a:r>
            <a:r>
              <a:rPr lang="en-US" b="1" dirty="0" smtClean="0">
                <a:solidFill>
                  <a:srgbClr val="FFFFFF"/>
                </a:solidFill>
                <a:cs typeface="Calibri" panose="020F0502020204030204" pitchFamily="34" charset="0"/>
              </a:rPr>
              <a:t>rosuchebnik.ru/fpu345</a:t>
            </a:r>
            <a:r>
              <a:rPr lang="ru-RU" sz="1200" dirty="0" smtClean="0">
                <a:solidFill>
                  <a:srgbClr val="FFFFFF"/>
                </a:solidFill>
                <a:cs typeface="Calibri" panose="020F0502020204030204" pitchFamily="34" charset="0"/>
              </a:rPr>
              <a:t> </a:t>
            </a:r>
            <a:r>
              <a:rPr lang="en-US" sz="1200" dirty="0" smtClean="0">
                <a:solidFill>
                  <a:srgbClr val="FFFFFF"/>
                </a:solidFill>
                <a:cs typeface="Calibri" panose="020F0502020204030204" pitchFamily="34" charset="0"/>
              </a:rPr>
              <a:t> </a:t>
            </a:r>
            <a:endParaRPr lang="ru-RU" sz="1200" dirty="0" err="1" smtClean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481387" y="4560529"/>
            <a:ext cx="9895404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solidFill>
                  <a:srgbClr val="181818"/>
                </a:solidFill>
              </a:rPr>
              <a:t>Учебники линии УМК </a:t>
            </a:r>
            <a:r>
              <a:rPr lang="ru-RU" sz="1400" dirty="0" err="1" smtClean="0">
                <a:solidFill>
                  <a:srgbClr val="181818"/>
                </a:solidFill>
              </a:rPr>
              <a:t>Сивоглазова</a:t>
            </a:r>
            <a:r>
              <a:rPr lang="ru-RU" sz="1400" dirty="0" smtClean="0">
                <a:solidFill>
                  <a:srgbClr val="181818"/>
                </a:solidFill>
              </a:rPr>
              <a:t> В.И. представляют новое поколение учебной литературы. Авторам удалось реализовать уникальную идею интеграции электронно-цифровых образовательных ресурсов с традиционным учебником и методическими материалами. Все компоненты связаны между собой системой навигации, что дает возможность научиться работать с разными источниками информации. Дополнительные материалы позволяет выстраивать индивидуальные образовательные маршруты.</a:t>
            </a:r>
            <a:endParaRPr lang="ru-RU" sz="1400" dirty="0">
              <a:solidFill>
                <a:srgbClr val="181818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81387" y="3643375"/>
            <a:ext cx="989540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 smtClean="0">
                <a:solidFill>
                  <a:srgbClr val="181818"/>
                </a:solidFill>
              </a:rPr>
              <a:t>Оба УМК имеют единый методический подход, направленный на формирование как личностных, так и предметных образовательных результатов. Разработанная система вопросов и заданий направлена на самостоятельную учебную деятельность учащихся и способствует формированию </a:t>
            </a:r>
            <a:r>
              <a:rPr lang="ru-RU" sz="1400" dirty="0" err="1" smtClean="0">
                <a:solidFill>
                  <a:srgbClr val="181818"/>
                </a:solidFill>
              </a:rPr>
              <a:t>метапредметных</a:t>
            </a:r>
            <a:r>
              <a:rPr lang="ru-RU" sz="1400" dirty="0" smtClean="0">
                <a:solidFill>
                  <a:srgbClr val="181818"/>
                </a:solidFill>
              </a:rPr>
              <a:t> результатов. </a:t>
            </a:r>
          </a:p>
        </p:txBody>
      </p:sp>
      <p:pic>
        <p:nvPicPr>
          <p:cNvPr id="70670" name="Picture 14" descr="ÐÐ¸Ð¾Ð»Ð¾Ð³Ð¸Ñ. ÐÐ±ÑÐ¸Ðµ Ð·Ð°ÐºÐ¾Ð½Ð¾Ð¼ÐµÑÐ½Ð¾ÑÑÐ¸. 9 ÐºÐ»Ð°ÑÑ. Ð£ÑÐµÐ±Ð½Ð¸Ðº. (ÐÑÐ°ÑÐ½ÑÐ¹) ÐÐÐ Ð¢ÐÐÐÐÐ¬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625" y="1339906"/>
            <a:ext cx="799200" cy="11268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673" name="Picture 17" descr="ÐÐ¸Ð¾Ð»Ð¾Ð³Ð¸Ñ. 8 ÐºÐ»Ð°ÑÑ. Ð£ÑÐµÐ±Ð½Ð¸Ðº (ÐÑÐ°ÑÐ½ÑÐ¹). ÐÐÐ Ð¢ÐÐÐÐÐ¬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1831" y="1339906"/>
            <a:ext cx="799200" cy="11268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675" name="Picture 19" descr="ÐÐ¸Ð¾Ð»Ð¾Ð³Ð¸Ñ. 7 ÐºÐ»Ð°ÑÑ. ÐÐ½Ð¾Ð³Ð¾Ð¾Ð±ÑÐ°Ð·Ð¸Ðµ Ð¶Ð¸Ð²ÑÑ Ð¾ÑÐ³Ð°Ð½Ð¸Ð·Ð¼Ð¾Ð². Ð£ÑÐµÐ±Ð½Ð¸Ðº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035" y="1339906"/>
            <a:ext cx="799200" cy="11268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677" name="Picture 21" descr="ÐÐ¸Ð¾Ð»Ð¾Ð³Ð¸Ñ. 6 ÐºÐ». ÐÐ¸Ð²Ð¾Ð¹ Ð¾ÑÐ³Ð°Ð½Ð¸Ð·Ð¼. Ð£ÑÐµÐ±Ð½Ð¸Ðº (ÐÑÐ°ÑÐ½ÑÐ¹). ÐÐÐ Ð¢ÐÐÐÐÐ¬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40" y="1339906"/>
            <a:ext cx="799200" cy="11268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679" name="Picture 23" descr="ÐÐ¸Ð¾Ð»Ð¾Ð³Ð¸Ñ. ÐÐ²ÐµÐ´ÐµÐ½Ð¸Ðµ Ð² Ð±Ð¸Ð¾Ð»Ð¾Ð³Ð¸Ñ. 5 ÐºÐ»Ð°ÑÑ. Ð£ÑÐµÐ±Ð½Ð¸Ðº. (ÐÑÐ°ÑÐ½ÑÐ¹). ÐÐÐ Ð¢ÐÐÐÐÐ¬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445" y="1339906"/>
            <a:ext cx="799200" cy="11268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Группа 11"/>
          <p:cNvGrpSpPr/>
          <p:nvPr/>
        </p:nvGrpSpPr>
        <p:grpSpPr>
          <a:xfrm>
            <a:off x="438445" y="2707353"/>
            <a:ext cx="775480" cy="2630418"/>
            <a:chOff x="438445" y="2707353"/>
            <a:chExt cx="775480" cy="2630418"/>
          </a:xfrm>
        </p:grpSpPr>
        <p:sp>
          <p:nvSpPr>
            <p:cNvPr id="22" name="Овал 21"/>
            <p:cNvSpPr/>
            <p:nvPr/>
          </p:nvSpPr>
          <p:spPr>
            <a:xfrm>
              <a:off x="438445" y="2707353"/>
              <a:ext cx="775480" cy="775480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23" name="Овал 22"/>
            <p:cNvSpPr/>
            <p:nvPr/>
          </p:nvSpPr>
          <p:spPr>
            <a:xfrm>
              <a:off x="438445" y="3586711"/>
              <a:ext cx="775480" cy="775480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24" name="Овал 23"/>
            <p:cNvSpPr/>
            <p:nvPr/>
          </p:nvSpPr>
          <p:spPr>
            <a:xfrm>
              <a:off x="438445" y="4562291"/>
              <a:ext cx="775480" cy="775480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FFFFFF"/>
                </a:solidFill>
              </a:endParaRPr>
            </a:p>
          </p:txBody>
        </p:sp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91430" y="2875445"/>
              <a:ext cx="477927" cy="473375"/>
            </a:xfrm>
            <a:prstGeom prst="rect">
              <a:avLst/>
            </a:prstGeom>
          </p:spPr>
        </p:pic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595770" y="3758703"/>
              <a:ext cx="473587" cy="473587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541134" y="4740962"/>
              <a:ext cx="582858" cy="418137"/>
            </a:xfrm>
            <a:prstGeom prst="rect">
              <a:avLst/>
            </a:prstGeom>
          </p:spPr>
        </p:pic>
      </p:grpSp>
      <p:sp>
        <p:nvSpPr>
          <p:cNvPr id="42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ru-RU" sz="2400" dirty="0">
                <a:latin typeface="+mj-lt"/>
              </a:rPr>
              <a:t>РЕКОМЕНДАЦИИ ПО ПЕРЕХОДУ </a:t>
            </a:r>
            <a:r>
              <a:rPr lang="en-US" sz="2400" dirty="0" smtClean="0">
                <a:latin typeface="+mj-lt"/>
              </a:rPr>
              <a:t/>
            </a:r>
            <a:br>
              <a:rPr lang="en-US" sz="2400" dirty="0" smtClean="0">
                <a:latin typeface="+mj-lt"/>
              </a:rPr>
            </a:br>
            <a:r>
              <a:rPr lang="ru-RU" sz="2400" dirty="0" smtClean="0">
                <a:solidFill>
                  <a:srgbClr val="EB2049"/>
                </a:solidFill>
                <a:latin typeface="+mj-lt"/>
              </a:rPr>
              <a:t>БИОЛОГИЯ</a:t>
            </a:r>
            <a:endParaRPr lang="ru-RU" sz="2400" dirty="0">
              <a:solidFill>
                <a:srgbClr val="EB2049"/>
              </a:solidFill>
              <a:latin typeface="+mj-lt"/>
            </a:endParaRP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7433691" y="1340213"/>
            <a:ext cx="830236" cy="1128168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7036107" y="1343163"/>
            <a:ext cx="830236" cy="112028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1852011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789608" y="1573485"/>
            <a:ext cx="1816765" cy="2383743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-1502659" y="3200785"/>
            <a:ext cx="5200648" cy="426879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pPr lvl="0" algn="ctr"/>
            <a:r>
              <a:rPr lang="ru-RU" sz="3200" b="1" dirty="0">
                <a:solidFill>
                  <a:srgbClr val="69A02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став УМК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 sz="3200" dirty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программа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 sz="3200" dirty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ик (в печатной и ЭФ)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 sz="3200" dirty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тетрадь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 sz="3200" dirty="0">
                <a:solidFill>
                  <a:srgbClr val="51515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ческое пособие</a:t>
            </a:r>
          </a:p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"/>
            <a:ext cx="11938000" cy="1357291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К по биологии для 10-11 </a:t>
            </a:r>
            <a:r>
              <a:rPr lang="ru-RU" sz="36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лассов (базовый уровень) В.И. </a:t>
            </a:r>
            <a:r>
              <a:rPr lang="ru-RU" sz="3600" b="1" dirty="0" err="1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воглазова</a:t>
            </a:r>
            <a:r>
              <a:rPr lang="ru-RU" sz="36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И.Б. Агафоновой, Е.Т. Захаровой и др</a:t>
            </a:r>
            <a:r>
              <a:rPr lang="ru-RU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36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6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6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3.5.6.6.1- 1.3.5.6.6.2)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9612" y="1857366"/>
            <a:ext cx="2180007" cy="297365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20353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5296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80572" y="-179124"/>
            <a:ext cx="12772571" cy="6808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3324407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55398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17" y="114752"/>
            <a:ext cx="11756571" cy="674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5661034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5501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68" y="506565"/>
            <a:ext cx="12032343" cy="6140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3615780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9931760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180810" name="think-cell Slide" r:id="rId5" imgW="360" imgH="36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158863" y="1534239"/>
            <a:ext cx="288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ea typeface="Helios-Cond-Light"/>
                <a:cs typeface="Calibri" panose="020F0502020204030204" pitchFamily="34" charset="0"/>
                <a:sym typeface="Helios-Cond-Light"/>
              </a:rPr>
              <a:t>Как помочь школьникам хорошо учиться?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672088" y="1535769"/>
            <a:ext cx="2880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ea typeface="Helios-Cond-Light"/>
                <a:cs typeface="Calibri" panose="020F0502020204030204" pitchFamily="34" charset="0"/>
                <a:sym typeface="Helios-Cond-Light"/>
              </a:rPr>
              <a:t>Как сделать уроки биологии интересными и увлекательными для учащихся?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8185380" y="1535768"/>
            <a:ext cx="30242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ea typeface="Helios-Cond-Light"/>
                <a:cs typeface="Calibri Light" panose="020F0302020204030204" pitchFamily="34" charset="0"/>
                <a:sym typeface="Helios-Cond-Light"/>
              </a:rPr>
              <a:t>Как хорошо подготовить учащихся к аттестации по биологии? </a:t>
            </a:r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307600" y="138101"/>
            <a:ext cx="10174923" cy="82455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ПЕРЕД УЧИТЕЛЕМ БИОЛОГИИ СТОЯТ 3 КЛЮЧЕВЫЕ ЗАДАЧИ</a:t>
            </a:r>
            <a:endParaRPr lang="ru-RU" sz="2400" dirty="0">
              <a:latin typeface="+mj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808" y="2844281"/>
            <a:ext cx="2650183" cy="261845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5726" y="2806840"/>
            <a:ext cx="2725972" cy="269333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473" y="2786088"/>
            <a:ext cx="2767971" cy="273483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64208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560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0" y="1128719"/>
            <a:ext cx="12090399" cy="5645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4132129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5705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151" y="573314"/>
            <a:ext cx="12046849" cy="628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91463580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236871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925307" y="122705"/>
            <a:ext cx="10127425" cy="10512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>
                <a:latin typeface="+mj-lt"/>
              </a:rPr>
              <a:t>МЕТОДИЧЕСКИЙ АППАРАТ</a:t>
            </a:r>
            <a:r>
              <a:rPr lang="ru-RU" sz="2400" dirty="0" smtClean="0">
                <a:latin typeface="+mj-lt"/>
              </a:rPr>
              <a:t>: </a:t>
            </a:r>
            <a:r>
              <a:rPr lang="ru-RU" dirty="0" smtClean="0">
                <a:latin typeface="+mj-lt"/>
              </a:rPr>
              <a:t>содержит </a:t>
            </a:r>
            <a:r>
              <a:rPr lang="ru-RU" dirty="0" err="1">
                <a:latin typeface="+mj-lt"/>
              </a:rPr>
              <a:t>компетентностные</a:t>
            </a:r>
            <a:r>
              <a:rPr lang="ru-RU" dirty="0">
                <a:latin typeface="+mj-lt"/>
              </a:rPr>
              <a:t> задания; </a:t>
            </a:r>
            <a:r>
              <a:rPr lang="ru-RU" dirty="0" smtClean="0">
                <a:latin typeface="+mj-lt"/>
              </a:rPr>
              <a:t>творческие задания;  </a:t>
            </a:r>
            <a:r>
              <a:rPr lang="ru-RU" dirty="0">
                <a:latin typeface="+mj-lt"/>
              </a:rPr>
              <a:t>анализ первичных научных данных</a:t>
            </a:r>
          </a:p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 </a:t>
            </a: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altLang="ru-RU" sz="24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925304" y="1050106"/>
            <a:ext cx="9452411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sz="1600" dirty="0"/>
              <a:t>Способствует формированию у учащихся целостного представления о мире с точки зрения современной </a:t>
            </a:r>
            <a:r>
              <a:rPr lang="ru-RU" sz="1600" dirty="0" smtClean="0"/>
              <a:t>науки</a:t>
            </a:r>
            <a:endParaRPr lang="ru-RU" sz="1600" dirty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altLang="ru-RU" sz="1600" dirty="0">
              <a:cs typeface="Calibri" panose="020F050202020403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052733" y="262110"/>
            <a:ext cx="925523" cy="130072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684524" y="712727"/>
            <a:ext cx="968645" cy="13103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Овал 9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2" name="Picture 17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1850019"/>
            <a:ext cx="6114481" cy="1082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7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876" y="2023069"/>
            <a:ext cx="6011415" cy="11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7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440" y="3122858"/>
            <a:ext cx="5735599" cy="245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7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4483" y="3122854"/>
            <a:ext cx="5863772" cy="2656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7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2753" y="5338336"/>
            <a:ext cx="4644571" cy="1418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4229844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65934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925307" y="122705"/>
            <a:ext cx="10127425" cy="10512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>
                <a:latin typeface="Calibri"/>
              </a:rPr>
              <a:t>МЕТОДИЧЕСКИЙ АППАРАТ</a:t>
            </a:r>
            <a:r>
              <a:rPr lang="ru-RU" sz="2400" dirty="0" smtClean="0">
                <a:latin typeface="Calibri"/>
              </a:rPr>
              <a:t>: </a:t>
            </a:r>
            <a:r>
              <a:rPr lang="ru-RU" dirty="0" smtClean="0">
                <a:latin typeface="Calibri"/>
              </a:rPr>
              <a:t>содержит </a:t>
            </a:r>
            <a:r>
              <a:rPr lang="ru-RU" dirty="0" err="1">
                <a:latin typeface="Calibri"/>
              </a:rPr>
              <a:t>компетентностные</a:t>
            </a:r>
            <a:r>
              <a:rPr lang="ru-RU" dirty="0">
                <a:latin typeface="Calibri"/>
              </a:rPr>
              <a:t> задания; </a:t>
            </a:r>
            <a:r>
              <a:rPr lang="ru-RU" dirty="0" smtClean="0">
                <a:latin typeface="Calibri"/>
              </a:rPr>
              <a:t>творческие задания;  </a:t>
            </a:r>
            <a:r>
              <a:rPr lang="ru-RU" dirty="0">
                <a:latin typeface="Calibri"/>
              </a:rPr>
              <a:t>анализ первичных научных данных</a:t>
            </a:r>
          </a:p>
          <a:p>
            <a:pPr>
              <a:lnSpc>
                <a:spcPct val="100000"/>
              </a:lnSpc>
            </a:pPr>
            <a:r>
              <a:rPr lang="ru-RU" sz="2400" dirty="0" smtClean="0">
                <a:latin typeface="Calibri"/>
              </a:rPr>
              <a:t> </a:t>
            </a: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altLang="ru-RU" sz="2400" dirty="0">
              <a:latin typeface="Calibri"/>
              <a:cs typeface="Calibri" panose="020F0502020204030204" pitchFamily="34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925304" y="1050106"/>
            <a:ext cx="9452411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sz="1600" dirty="0"/>
              <a:t>Способствует формированию у учащихся целостного представления о мире с точки зрения современной </a:t>
            </a:r>
            <a:r>
              <a:rPr lang="ru-RU" sz="1600" dirty="0" smtClean="0"/>
              <a:t>науки</a:t>
            </a:r>
            <a:endParaRPr lang="ru-RU" sz="1600" dirty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altLang="ru-RU" sz="1600" dirty="0">
              <a:cs typeface="Calibri" panose="020F050202020403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052733" y="262110"/>
            <a:ext cx="925523" cy="130072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684524" y="712727"/>
            <a:ext cx="968645" cy="13103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Овал 9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17" name="Picture 17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7429" y="4627791"/>
            <a:ext cx="4644571" cy="1418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76" y="1698748"/>
            <a:ext cx="7561943" cy="3942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695" y="1800493"/>
            <a:ext cx="6822140" cy="3556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5291" y="1903641"/>
            <a:ext cx="5410200" cy="272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695" y="3001266"/>
            <a:ext cx="5476885" cy="3253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479998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444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" y="1317625"/>
            <a:ext cx="6257925" cy="399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441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6476" y="1766658"/>
            <a:ext cx="6105525" cy="286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442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2544" y="3313112"/>
            <a:ext cx="5562600" cy="382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4421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" y="-20638"/>
            <a:ext cx="6581775" cy="138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4422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7952" y="271234"/>
            <a:ext cx="5514975" cy="149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79090010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66961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925307" y="122705"/>
            <a:ext cx="10127425" cy="10512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>
                <a:latin typeface="Calibri"/>
              </a:rPr>
              <a:t>МЕТОДИЧЕСКИЙ АППАРАТ</a:t>
            </a:r>
            <a:r>
              <a:rPr lang="ru-RU" sz="2400" dirty="0" smtClean="0">
                <a:latin typeface="Calibri"/>
              </a:rPr>
              <a:t>: </a:t>
            </a:r>
            <a:r>
              <a:rPr lang="ru-RU" dirty="0" smtClean="0">
                <a:latin typeface="Calibri"/>
              </a:rPr>
              <a:t>содержит </a:t>
            </a:r>
            <a:r>
              <a:rPr lang="ru-RU" dirty="0" err="1">
                <a:latin typeface="Calibri"/>
              </a:rPr>
              <a:t>компетентностные</a:t>
            </a:r>
            <a:r>
              <a:rPr lang="ru-RU" dirty="0">
                <a:latin typeface="Calibri"/>
              </a:rPr>
              <a:t> задания; </a:t>
            </a:r>
            <a:r>
              <a:rPr lang="ru-RU" dirty="0" smtClean="0">
                <a:latin typeface="Calibri"/>
              </a:rPr>
              <a:t>творческие задания;  </a:t>
            </a:r>
            <a:r>
              <a:rPr lang="ru-RU" dirty="0">
                <a:latin typeface="Calibri"/>
              </a:rPr>
              <a:t>анализ первичных научных данных</a:t>
            </a:r>
          </a:p>
          <a:p>
            <a:pPr>
              <a:lnSpc>
                <a:spcPct val="100000"/>
              </a:lnSpc>
            </a:pPr>
            <a:r>
              <a:rPr lang="ru-RU" sz="2400" dirty="0" smtClean="0">
                <a:latin typeface="Calibri"/>
              </a:rPr>
              <a:t> </a:t>
            </a: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altLang="ru-RU" sz="2400" dirty="0">
              <a:latin typeface="Calibri"/>
              <a:cs typeface="Calibri" panose="020F0502020204030204" pitchFamily="34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925304" y="1050106"/>
            <a:ext cx="9452411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sz="1600" dirty="0"/>
              <a:t>Способствует формированию у учащихся целостного представления о мире с точки зрения современной </a:t>
            </a:r>
            <a:r>
              <a:rPr lang="ru-RU" sz="1600" dirty="0" smtClean="0"/>
              <a:t>науки</a:t>
            </a:r>
            <a:endParaRPr lang="ru-RU" sz="1600" dirty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altLang="ru-RU" sz="1600" dirty="0">
              <a:cs typeface="Calibri" panose="020F050202020403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052733" y="262110"/>
            <a:ext cx="925523" cy="130072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Овал 9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7924" y="1562830"/>
            <a:ext cx="5257711" cy="4144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0401" y="1562834"/>
            <a:ext cx="2733675" cy="2238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59" y="1698748"/>
            <a:ext cx="2714625" cy="300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0815252" y="907658"/>
            <a:ext cx="968645" cy="13103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66948" name="Picture 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304" y="3819140"/>
            <a:ext cx="5438775" cy="264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479998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67985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925307" y="122705"/>
            <a:ext cx="10127425" cy="10512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>
                <a:latin typeface="Calibri"/>
              </a:rPr>
              <a:t>МЕТОДИЧЕСКИЙ АППАРАТ</a:t>
            </a:r>
            <a:r>
              <a:rPr lang="ru-RU" sz="2400" dirty="0" smtClean="0">
                <a:latin typeface="Calibri"/>
              </a:rPr>
              <a:t>: </a:t>
            </a:r>
            <a:r>
              <a:rPr lang="ru-RU" dirty="0" smtClean="0">
                <a:latin typeface="Calibri"/>
              </a:rPr>
              <a:t>содержит </a:t>
            </a:r>
            <a:r>
              <a:rPr lang="ru-RU" dirty="0" err="1">
                <a:latin typeface="Calibri"/>
              </a:rPr>
              <a:t>компетентностные</a:t>
            </a:r>
            <a:r>
              <a:rPr lang="ru-RU" dirty="0">
                <a:latin typeface="Calibri"/>
              </a:rPr>
              <a:t> задания; </a:t>
            </a:r>
            <a:r>
              <a:rPr lang="ru-RU" dirty="0" smtClean="0">
                <a:latin typeface="Calibri"/>
              </a:rPr>
              <a:t>творческие задания;  </a:t>
            </a:r>
            <a:r>
              <a:rPr lang="ru-RU" dirty="0">
                <a:latin typeface="Calibri"/>
              </a:rPr>
              <a:t>анализ первичных научных данных</a:t>
            </a:r>
          </a:p>
          <a:p>
            <a:pPr>
              <a:lnSpc>
                <a:spcPct val="100000"/>
              </a:lnSpc>
            </a:pPr>
            <a:r>
              <a:rPr lang="ru-RU" sz="2400" dirty="0" smtClean="0">
                <a:latin typeface="Calibri"/>
              </a:rPr>
              <a:t> </a:t>
            </a: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altLang="ru-RU" sz="2400" dirty="0">
              <a:latin typeface="Calibri"/>
              <a:cs typeface="Calibri" panose="020F0502020204030204" pitchFamily="34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925304" y="1050106"/>
            <a:ext cx="9452411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sz="1600" dirty="0"/>
              <a:t>Способствует формированию у учащихся целостного представления о мире с точки зрения современной </a:t>
            </a:r>
            <a:r>
              <a:rPr lang="ru-RU" sz="1600" dirty="0" smtClean="0"/>
              <a:t>науки</a:t>
            </a:r>
            <a:endParaRPr lang="ru-RU" sz="1600" dirty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altLang="ru-RU" sz="1600" dirty="0">
              <a:cs typeface="Calibri" panose="020F050202020403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052733" y="262110"/>
            <a:ext cx="925523" cy="130072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Овал 9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815252" y="907658"/>
            <a:ext cx="968645" cy="13103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37" y="1802494"/>
            <a:ext cx="5791200" cy="293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7972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36" y="3374802"/>
            <a:ext cx="5648325" cy="280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880" y="2218007"/>
            <a:ext cx="6181725" cy="381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567707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78225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925307" y="122705"/>
            <a:ext cx="10127425" cy="10512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>
                <a:latin typeface="Calibri"/>
              </a:rPr>
              <a:t>МЕТОДИЧЕСКИЙ АППАРАТ</a:t>
            </a:r>
            <a:r>
              <a:rPr lang="ru-RU" sz="2400" dirty="0" smtClean="0">
                <a:latin typeface="Calibri"/>
              </a:rPr>
              <a:t>: </a:t>
            </a:r>
            <a:r>
              <a:rPr lang="ru-RU" dirty="0" smtClean="0">
                <a:latin typeface="Calibri"/>
              </a:rPr>
              <a:t>содержит </a:t>
            </a:r>
            <a:r>
              <a:rPr lang="ru-RU" dirty="0" err="1">
                <a:latin typeface="Calibri"/>
              </a:rPr>
              <a:t>компетентностные</a:t>
            </a:r>
            <a:r>
              <a:rPr lang="ru-RU" dirty="0">
                <a:latin typeface="Calibri"/>
              </a:rPr>
              <a:t> задания; </a:t>
            </a:r>
            <a:r>
              <a:rPr lang="ru-RU" dirty="0" smtClean="0">
                <a:latin typeface="Calibri"/>
              </a:rPr>
              <a:t>творческие задания;  </a:t>
            </a:r>
            <a:r>
              <a:rPr lang="ru-RU" dirty="0">
                <a:latin typeface="Calibri"/>
              </a:rPr>
              <a:t>анализ первичных научных данных</a:t>
            </a:r>
          </a:p>
          <a:p>
            <a:pPr>
              <a:lnSpc>
                <a:spcPct val="100000"/>
              </a:lnSpc>
            </a:pPr>
            <a:r>
              <a:rPr lang="ru-RU" sz="2400" dirty="0" smtClean="0">
                <a:latin typeface="Calibri"/>
              </a:rPr>
              <a:t> </a:t>
            </a: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altLang="ru-RU" sz="2400" dirty="0">
              <a:latin typeface="Calibri"/>
              <a:cs typeface="Calibri" panose="020F0502020204030204" pitchFamily="34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925304" y="1050106"/>
            <a:ext cx="9452411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sz="1600" dirty="0"/>
              <a:t>Способствует формированию у учащихся целостного представления о мире с точки зрения современной </a:t>
            </a:r>
            <a:r>
              <a:rPr lang="ru-RU" sz="1600" dirty="0" smtClean="0"/>
              <a:t>науки</a:t>
            </a:r>
            <a:endParaRPr lang="ru-RU" sz="1600" dirty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altLang="ru-RU" sz="1600" dirty="0">
              <a:cs typeface="Calibri" panose="020F050202020403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052733" y="262110"/>
            <a:ext cx="925523" cy="130072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Овал 9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815252" y="907658"/>
            <a:ext cx="968645" cy="13103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67972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1673456"/>
            <a:ext cx="5648325" cy="280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8210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9019" y="1986190"/>
            <a:ext cx="5448300" cy="280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8211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416" y="4025000"/>
            <a:ext cx="5562600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8212" name="Picture 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3332" y="3815450"/>
            <a:ext cx="5619751" cy="240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42627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97684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925307" y="122705"/>
            <a:ext cx="10127425" cy="10512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>
                <a:latin typeface="Calibri"/>
              </a:rPr>
              <a:t>МЕТОДИЧЕСКИЙ АППАРАТ</a:t>
            </a:r>
            <a:r>
              <a:rPr lang="ru-RU" sz="2400" dirty="0" smtClean="0">
                <a:latin typeface="Calibri"/>
              </a:rPr>
              <a:t>: </a:t>
            </a:r>
            <a:r>
              <a:rPr lang="ru-RU" dirty="0" smtClean="0">
                <a:latin typeface="Calibri"/>
              </a:rPr>
              <a:t>содержит </a:t>
            </a:r>
            <a:r>
              <a:rPr lang="ru-RU" dirty="0" err="1">
                <a:latin typeface="Calibri"/>
              </a:rPr>
              <a:t>компетентностные</a:t>
            </a:r>
            <a:r>
              <a:rPr lang="ru-RU" dirty="0">
                <a:latin typeface="Calibri"/>
              </a:rPr>
              <a:t> задания; </a:t>
            </a:r>
            <a:r>
              <a:rPr lang="ru-RU" dirty="0" smtClean="0">
                <a:latin typeface="Calibri"/>
              </a:rPr>
              <a:t>творческие задания;  </a:t>
            </a:r>
            <a:r>
              <a:rPr lang="ru-RU" dirty="0">
                <a:latin typeface="Calibri"/>
              </a:rPr>
              <a:t>анализ первичных научных данных</a:t>
            </a:r>
          </a:p>
          <a:p>
            <a:pPr>
              <a:lnSpc>
                <a:spcPct val="100000"/>
              </a:lnSpc>
            </a:pPr>
            <a:r>
              <a:rPr lang="ru-RU" sz="2400" dirty="0" smtClean="0">
                <a:latin typeface="Calibri"/>
              </a:rPr>
              <a:t> </a:t>
            </a: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altLang="ru-RU" sz="2400" dirty="0">
              <a:latin typeface="Calibri"/>
              <a:cs typeface="Calibri" panose="020F0502020204030204" pitchFamily="34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925304" y="1050106"/>
            <a:ext cx="9452411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sz="1600" dirty="0"/>
              <a:t>Способствует формированию у учащихся целостного представления о мире с точки зрения современной </a:t>
            </a:r>
            <a:r>
              <a:rPr lang="ru-RU" sz="1600" dirty="0" smtClean="0"/>
              <a:t>науки</a:t>
            </a:r>
            <a:endParaRPr lang="ru-RU" sz="1600" dirty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altLang="ru-RU" sz="1600" dirty="0">
              <a:cs typeface="Calibri" panose="020F050202020403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052733" y="262110"/>
            <a:ext cx="925523" cy="130072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Овал 9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815252" y="907658"/>
            <a:ext cx="968645" cy="13103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77" y="1664466"/>
            <a:ext cx="5168579" cy="3488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7670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523" y="1213117"/>
            <a:ext cx="5762625" cy="200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7671" name="Picture 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612" y="2976260"/>
            <a:ext cx="4308205" cy="2176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91316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498705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925307" y="122705"/>
            <a:ext cx="10127425" cy="10512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>
                <a:latin typeface="Calibri"/>
              </a:rPr>
              <a:t>МЕТОДИЧЕСКИЙ АППАРАТ</a:t>
            </a:r>
            <a:r>
              <a:rPr lang="ru-RU" sz="2400" dirty="0" smtClean="0">
                <a:latin typeface="Calibri"/>
              </a:rPr>
              <a:t>: </a:t>
            </a:r>
            <a:r>
              <a:rPr lang="ru-RU" dirty="0" smtClean="0">
                <a:latin typeface="Calibri"/>
              </a:rPr>
              <a:t>содержит </a:t>
            </a:r>
            <a:r>
              <a:rPr lang="ru-RU" dirty="0" err="1">
                <a:latin typeface="Calibri"/>
              </a:rPr>
              <a:t>компетентностные</a:t>
            </a:r>
            <a:r>
              <a:rPr lang="ru-RU" dirty="0">
                <a:latin typeface="Calibri"/>
              </a:rPr>
              <a:t> задания; </a:t>
            </a:r>
            <a:r>
              <a:rPr lang="ru-RU" dirty="0" smtClean="0">
                <a:latin typeface="Calibri"/>
              </a:rPr>
              <a:t>творческие задания;  </a:t>
            </a:r>
            <a:r>
              <a:rPr lang="ru-RU" dirty="0">
                <a:latin typeface="Calibri"/>
              </a:rPr>
              <a:t>анализ первичных научных данных</a:t>
            </a:r>
          </a:p>
          <a:p>
            <a:pPr>
              <a:lnSpc>
                <a:spcPct val="100000"/>
              </a:lnSpc>
            </a:pPr>
            <a:r>
              <a:rPr lang="ru-RU" sz="2400" dirty="0" smtClean="0">
                <a:latin typeface="Calibri"/>
              </a:rPr>
              <a:t> </a:t>
            </a: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sz="2400" dirty="0" smtClean="0">
              <a:latin typeface="Calibri"/>
            </a:endParaRPr>
          </a:p>
          <a:p>
            <a:endParaRPr lang="ru-RU" altLang="ru-RU" sz="2400" dirty="0">
              <a:latin typeface="Calibri"/>
              <a:cs typeface="Calibri" panose="020F0502020204030204" pitchFamily="34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925304" y="1050106"/>
            <a:ext cx="9452411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sz="1600" dirty="0"/>
              <a:t>Способствует формированию у учащихся целостного представления о мире с точки зрения современной </a:t>
            </a:r>
            <a:r>
              <a:rPr lang="ru-RU" sz="1600" dirty="0" smtClean="0"/>
              <a:t>науки</a:t>
            </a:r>
            <a:endParaRPr lang="ru-RU" sz="1600" dirty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altLang="ru-RU" sz="1600" dirty="0">
              <a:cs typeface="Calibri" panose="020F050202020403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052733" y="262110"/>
            <a:ext cx="925523" cy="130072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Овал 9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49766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80" y="1698749"/>
            <a:ext cx="6000751" cy="170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7668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16" y="3197681"/>
            <a:ext cx="4170399" cy="2692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8690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931" y="1698750"/>
            <a:ext cx="5915025" cy="2524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0967652" y="1060057"/>
            <a:ext cx="968645" cy="13103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98692" name="Picture 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1" y="2846515"/>
            <a:ext cx="5276851" cy="275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92642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386832780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246088" name="think-cell Slide" r:id="rId5" imgW="360" imgH="36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66329" y="5513396"/>
            <a:ext cx="11674136" cy="594545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2" name="Title 3"/>
          <p:cNvSpPr>
            <a:spLocks noGrp="1"/>
          </p:cNvSpPr>
          <p:nvPr>
            <p:ph type="title"/>
          </p:nvPr>
        </p:nvSpPr>
        <p:spPr>
          <a:xfrm>
            <a:off x="175044" y="144999"/>
            <a:ext cx="11259395" cy="57606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2400" dirty="0"/>
              <a:t>В УСЛОВИЯХ ИСКЛЮЧЕНИЯ РЯДА ЛИНИЙ ИЗ ФПУ </a:t>
            </a:r>
            <a:r>
              <a:rPr lang="ru-RU" sz="2400" smtClean="0"/>
              <a:t>У УЧИТЕЛЕЙ </a:t>
            </a:r>
            <a:r>
              <a:rPr lang="ru-RU" sz="2400" dirty="0"/>
              <a:t>ПОЯВЛИСЬ ДОПОЛНИТЕЛЬНЫЕ СЛОЖНОСТИ В РЕШЕНИИ КЛЮЧЕВЫХ ЗАДАЧ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66329" y="5513396"/>
            <a:ext cx="116741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cs typeface="Calibri" panose="020F0502020204030204" pitchFamily="34" charset="0"/>
              </a:rPr>
              <a:t>Смена линий УМК – это всегда </a:t>
            </a:r>
            <a:r>
              <a:rPr lang="ru-RU" b="1" smtClean="0">
                <a:solidFill>
                  <a:schemeClr val="bg1"/>
                </a:solidFill>
                <a:cs typeface="Calibri" panose="020F0502020204030204" pitchFamily="34" charset="0"/>
              </a:rPr>
              <a:t>дополнительные финансовые расходы</a:t>
            </a:r>
            <a:r>
              <a:rPr lang="ru-RU" b="1" dirty="0" smtClean="0">
                <a:solidFill>
                  <a:schemeClr val="bg1"/>
                </a:solidFill>
                <a:cs typeface="Calibri" panose="020F0502020204030204" pitchFamily="34" charset="0"/>
              </a:rPr>
              <a:t>, трудозатраты и часто снижение образовательных результатов </a:t>
            </a:r>
            <a:endParaRPr lang="ru-RU" b="1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18" name="Pentagon 5"/>
          <p:cNvSpPr/>
          <p:nvPr/>
        </p:nvSpPr>
        <p:spPr>
          <a:xfrm>
            <a:off x="3190507" y="1746063"/>
            <a:ext cx="5416464" cy="936000"/>
          </a:xfrm>
          <a:prstGeom prst="homePlate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Как закончить 9-й класс без привычных учебников при смене линии</a:t>
            </a:r>
          </a:p>
        </p:txBody>
      </p:sp>
      <p:sp>
        <p:nvSpPr>
          <p:cNvPr id="20" name="Pentagon 7"/>
          <p:cNvSpPr/>
          <p:nvPr/>
        </p:nvSpPr>
        <p:spPr>
          <a:xfrm>
            <a:off x="3190508" y="2823865"/>
            <a:ext cx="4922413" cy="936000"/>
          </a:xfrm>
          <a:prstGeom prst="homePlate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Где найти время для подготовки к урокам при переходе на новую линию, по которой нужно начинать работать с нуля</a:t>
            </a:r>
          </a:p>
        </p:txBody>
      </p:sp>
      <p:sp>
        <p:nvSpPr>
          <p:cNvPr id="21" name="Pentagon 7"/>
          <p:cNvSpPr/>
          <p:nvPr/>
        </p:nvSpPr>
        <p:spPr>
          <a:xfrm>
            <a:off x="3190508" y="3907876"/>
            <a:ext cx="4922413" cy="936000"/>
          </a:xfrm>
          <a:prstGeom prst="homePlate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Как быстро переработать все рабочие программы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0" name="Овал 12"/>
          <p:cNvSpPr/>
          <p:nvPr/>
        </p:nvSpPr>
        <p:spPr>
          <a:xfrm>
            <a:off x="2045908" y="3889172"/>
            <a:ext cx="973408" cy="973408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chemeClr val="bg1"/>
              </a:solidFill>
            </a:endParaRPr>
          </a:p>
        </p:txBody>
      </p:sp>
      <p:sp>
        <p:nvSpPr>
          <p:cNvPr id="17" name="Freeform 32"/>
          <p:cNvSpPr>
            <a:spLocks noEditPoints="1"/>
          </p:cNvSpPr>
          <p:nvPr/>
        </p:nvSpPr>
        <p:spPr bwMode="auto">
          <a:xfrm>
            <a:off x="2268544" y="4096070"/>
            <a:ext cx="528273" cy="528273"/>
          </a:xfrm>
          <a:custGeom>
            <a:avLst/>
            <a:gdLst/>
            <a:ahLst/>
            <a:cxnLst>
              <a:cxn ang="0">
                <a:pos x="0" y="238"/>
              </a:cxn>
              <a:cxn ang="0">
                <a:pos x="11" y="216"/>
              </a:cxn>
              <a:cxn ang="0">
                <a:pos x="18" y="189"/>
              </a:cxn>
              <a:cxn ang="0">
                <a:pos x="19" y="185"/>
              </a:cxn>
              <a:cxn ang="0">
                <a:pos x="24" y="179"/>
              </a:cxn>
              <a:cxn ang="0">
                <a:pos x="27" y="178"/>
              </a:cxn>
              <a:cxn ang="0">
                <a:pos x="64" y="156"/>
              </a:cxn>
              <a:cxn ang="0">
                <a:pos x="61" y="151"/>
              </a:cxn>
              <a:cxn ang="0">
                <a:pos x="61" y="146"/>
              </a:cxn>
              <a:cxn ang="0">
                <a:pos x="66" y="141"/>
              </a:cxn>
              <a:cxn ang="0">
                <a:pos x="85" y="159"/>
              </a:cxn>
              <a:cxn ang="0">
                <a:pos x="102" y="178"/>
              </a:cxn>
              <a:cxn ang="0">
                <a:pos x="98" y="183"/>
              </a:cxn>
              <a:cxn ang="0">
                <a:pos x="95" y="184"/>
              </a:cxn>
              <a:cxn ang="0">
                <a:pos x="88" y="179"/>
              </a:cxn>
              <a:cxn ang="0">
                <a:pos x="77" y="198"/>
              </a:cxn>
              <a:cxn ang="0">
                <a:pos x="66" y="217"/>
              </a:cxn>
              <a:cxn ang="0">
                <a:pos x="62" y="222"/>
              </a:cxn>
              <a:cxn ang="0">
                <a:pos x="54" y="226"/>
              </a:cxn>
              <a:cxn ang="0">
                <a:pos x="40" y="228"/>
              </a:cxn>
              <a:cxn ang="0">
                <a:pos x="16" y="238"/>
              </a:cxn>
              <a:cxn ang="0">
                <a:pos x="5" y="243"/>
              </a:cxn>
              <a:cxn ang="0">
                <a:pos x="0" y="243"/>
              </a:cxn>
              <a:cxn ang="0">
                <a:pos x="0" y="238"/>
              </a:cxn>
              <a:cxn ang="0">
                <a:pos x="0" y="238"/>
              </a:cxn>
              <a:cxn ang="0">
                <a:pos x="108" y="172"/>
              </a:cxn>
              <a:cxn ang="0">
                <a:pos x="112" y="174"/>
              </a:cxn>
              <a:cxn ang="0">
                <a:pos x="120" y="174"/>
              </a:cxn>
              <a:cxn ang="0">
                <a:pos x="229" y="53"/>
              </a:cxn>
              <a:cxn ang="0">
                <a:pos x="72" y="121"/>
              </a:cxn>
              <a:cxn ang="0">
                <a:pos x="69" y="125"/>
              </a:cxn>
              <a:cxn ang="0">
                <a:pos x="69" y="131"/>
              </a:cxn>
              <a:cxn ang="0">
                <a:pos x="91" y="154"/>
              </a:cxn>
              <a:cxn ang="0">
                <a:pos x="198" y="9"/>
              </a:cxn>
              <a:cxn ang="0">
                <a:pos x="198" y="9"/>
              </a:cxn>
              <a:cxn ang="0">
                <a:pos x="208" y="1"/>
              </a:cxn>
              <a:cxn ang="0">
                <a:pos x="219" y="0"/>
              </a:cxn>
              <a:cxn ang="0">
                <a:pos x="228" y="1"/>
              </a:cxn>
              <a:cxn ang="0">
                <a:pos x="237" y="8"/>
              </a:cxn>
              <a:cxn ang="0">
                <a:pos x="240" y="11"/>
              </a:cxn>
              <a:cxn ang="0">
                <a:pos x="243" y="20"/>
              </a:cxn>
              <a:cxn ang="0">
                <a:pos x="243" y="30"/>
              </a:cxn>
              <a:cxn ang="0">
                <a:pos x="240" y="40"/>
              </a:cxn>
              <a:cxn ang="0">
                <a:pos x="236" y="47"/>
              </a:cxn>
              <a:cxn ang="0">
                <a:pos x="198" y="9"/>
              </a:cxn>
              <a:cxn ang="0">
                <a:pos x="52" y="192"/>
              </a:cxn>
              <a:cxn ang="0">
                <a:pos x="48" y="190"/>
              </a:cxn>
              <a:cxn ang="0">
                <a:pos x="44" y="192"/>
              </a:cxn>
              <a:cxn ang="0">
                <a:pos x="43" y="194"/>
              </a:cxn>
              <a:cxn ang="0">
                <a:pos x="43" y="198"/>
              </a:cxn>
              <a:cxn ang="0">
                <a:pos x="44" y="201"/>
              </a:cxn>
              <a:cxn ang="0">
                <a:pos x="48" y="202"/>
              </a:cxn>
              <a:cxn ang="0">
                <a:pos x="52" y="201"/>
              </a:cxn>
              <a:cxn ang="0">
                <a:pos x="53" y="198"/>
              </a:cxn>
              <a:cxn ang="0">
                <a:pos x="53" y="194"/>
              </a:cxn>
              <a:cxn ang="0">
                <a:pos x="52" y="192"/>
              </a:cxn>
            </a:cxnLst>
            <a:rect l="0" t="0" r="r" b="b"/>
            <a:pathLst>
              <a:path w="245" h="245">
                <a:moveTo>
                  <a:pt x="0" y="238"/>
                </a:moveTo>
                <a:lnTo>
                  <a:pt x="0" y="238"/>
                </a:lnTo>
                <a:lnTo>
                  <a:pt x="6" y="228"/>
                </a:lnTo>
                <a:lnTo>
                  <a:pt x="11" y="216"/>
                </a:lnTo>
                <a:lnTo>
                  <a:pt x="15" y="203"/>
                </a:lnTo>
                <a:lnTo>
                  <a:pt x="18" y="189"/>
                </a:lnTo>
                <a:lnTo>
                  <a:pt x="18" y="189"/>
                </a:lnTo>
                <a:lnTo>
                  <a:pt x="19" y="185"/>
                </a:lnTo>
                <a:lnTo>
                  <a:pt x="22" y="182"/>
                </a:lnTo>
                <a:lnTo>
                  <a:pt x="24" y="179"/>
                </a:lnTo>
                <a:lnTo>
                  <a:pt x="27" y="178"/>
                </a:lnTo>
                <a:lnTo>
                  <a:pt x="27" y="178"/>
                </a:lnTo>
                <a:lnTo>
                  <a:pt x="47" y="168"/>
                </a:lnTo>
                <a:lnTo>
                  <a:pt x="64" y="156"/>
                </a:lnTo>
                <a:lnTo>
                  <a:pt x="61" y="151"/>
                </a:lnTo>
                <a:lnTo>
                  <a:pt x="61" y="151"/>
                </a:lnTo>
                <a:lnTo>
                  <a:pt x="59" y="149"/>
                </a:lnTo>
                <a:lnTo>
                  <a:pt x="61" y="146"/>
                </a:lnTo>
                <a:lnTo>
                  <a:pt x="66" y="141"/>
                </a:lnTo>
                <a:lnTo>
                  <a:pt x="66" y="141"/>
                </a:lnTo>
                <a:lnTo>
                  <a:pt x="66" y="141"/>
                </a:lnTo>
                <a:lnTo>
                  <a:pt x="85" y="159"/>
                </a:lnTo>
                <a:lnTo>
                  <a:pt x="102" y="178"/>
                </a:lnTo>
                <a:lnTo>
                  <a:pt x="102" y="178"/>
                </a:lnTo>
                <a:lnTo>
                  <a:pt x="103" y="178"/>
                </a:lnTo>
                <a:lnTo>
                  <a:pt x="98" y="183"/>
                </a:lnTo>
                <a:lnTo>
                  <a:pt x="98" y="183"/>
                </a:lnTo>
                <a:lnTo>
                  <a:pt x="95" y="184"/>
                </a:lnTo>
                <a:lnTo>
                  <a:pt x="92" y="183"/>
                </a:lnTo>
                <a:lnTo>
                  <a:pt x="88" y="179"/>
                </a:lnTo>
                <a:lnTo>
                  <a:pt x="88" y="179"/>
                </a:lnTo>
                <a:lnTo>
                  <a:pt x="77" y="198"/>
                </a:lnTo>
                <a:lnTo>
                  <a:pt x="66" y="217"/>
                </a:lnTo>
                <a:lnTo>
                  <a:pt x="66" y="217"/>
                </a:lnTo>
                <a:lnTo>
                  <a:pt x="64" y="221"/>
                </a:lnTo>
                <a:lnTo>
                  <a:pt x="62" y="222"/>
                </a:lnTo>
                <a:lnTo>
                  <a:pt x="59" y="224"/>
                </a:lnTo>
                <a:lnTo>
                  <a:pt x="54" y="226"/>
                </a:lnTo>
                <a:lnTo>
                  <a:pt x="54" y="226"/>
                </a:lnTo>
                <a:lnTo>
                  <a:pt x="40" y="228"/>
                </a:lnTo>
                <a:lnTo>
                  <a:pt x="28" y="233"/>
                </a:lnTo>
                <a:lnTo>
                  <a:pt x="16" y="238"/>
                </a:lnTo>
                <a:lnTo>
                  <a:pt x="5" y="243"/>
                </a:lnTo>
                <a:lnTo>
                  <a:pt x="5" y="243"/>
                </a:lnTo>
                <a:lnTo>
                  <a:pt x="3" y="245"/>
                </a:lnTo>
                <a:lnTo>
                  <a:pt x="0" y="243"/>
                </a:lnTo>
                <a:lnTo>
                  <a:pt x="0" y="241"/>
                </a:lnTo>
                <a:lnTo>
                  <a:pt x="0" y="238"/>
                </a:lnTo>
                <a:lnTo>
                  <a:pt x="0" y="238"/>
                </a:lnTo>
                <a:lnTo>
                  <a:pt x="0" y="238"/>
                </a:lnTo>
                <a:close/>
                <a:moveTo>
                  <a:pt x="91" y="154"/>
                </a:moveTo>
                <a:lnTo>
                  <a:pt x="108" y="172"/>
                </a:lnTo>
                <a:lnTo>
                  <a:pt x="108" y="172"/>
                </a:lnTo>
                <a:lnTo>
                  <a:pt x="112" y="174"/>
                </a:lnTo>
                <a:lnTo>
                  <a:pt x="116" y="175"/>
                </a:lnTo>
                <a:lnTo>
                  <a:pt x="120" y="174"/>
                </a:lnTo>
                <a:lnTo>
                  <a:pt x="124" y="172"/>
                </a:lnTo>
                <a:lnTo>
                  <a:pt x="229" y="53"/>
                </a:lnTo>
                <a:lnTo>
                  <a:pt x="190" y="14"/>
                </a:lnTo>
                <a:lnTo>
                  <a:pt x="72" y="121"/>
                </a:lnTo>
                <a:lnTo>
                  <a:pt x="72" y="121"/>
                </a:lnTo>
                <a:lnTo>
                  <a:pt x="69" y="125"/>
                </a:lnTo>
                <a:lnTo>
                  <a:pt x="68" y="129"/>
                </a:lnTo>
                <a:lnTo>
                  <a:pt x="69" y="131"/>
                </a:lnTo>
                <a:lnTo>
                  <a:pt x="72" y="135"/>
                </a:lnTo>
                <a:lnTo>
                  <a:pt x="91" y="154"/>
                </a:lnTo>
                <a:lnTo>
                  <a:pt x="91" y="154"/>
                </a:lnTo>
                <a:close/>
                <a:moveTo>
                  <a:pt x="198" y="9"/>
                </a:moveTo>
                <a:lnTo>
                  <a:pt x="198" y="9"/>
                </a:lnTo>
                <a:lnTo>
                  <a:pt x="198" y="9"/>
                </a:lnTo>
                <a:lnTo>
                  <a:pt x="203" y="4"/>
                </a:lnTo>
                <a:lnTo>
                  <a:pt x="208" y="1"/>
                </a:lnTo>
                <a:lnTo>
                  <a:pt x="214" y="0"/>
                </a:lnTo>
                <a:lnTo>
                  <a:pt x="219" y="0"/>
                </a:lnTo>
                <a:lnTo>
                  <a:pt x="224" y="0"/>
                </a:lnTo>
                <a:lnTo>
                  <a:pt x="228" y="1"/>
                </a:lnTo>
                <a:lnTo>
                  <a:pt x="233" y="4"/>
                </a:lnTo>
                <a:lnTo>
                  <a:pt x="237" y="8"/>
                </a:lnTo>
                <a:lnTo>
                  <a:pt x="237" y="8"/>
                </a:lnTo>
                <a:lnTo>
                  <a:pt x="240" y="11"/>
                </a:lnTo>
                <a:lnTo>
                  <a:pt x="242" y="15"/>
                </a:lnTo>
                <a:lnTo>
                  <a:pt x="243" y="20"/>
                </a:lnTo>
                <a:lnTo>
                  <a:pt x="245" y="25"/>
                </a:lnTo>
                <a:lnTo>
                  <a:pt x="243" y="30"/>
                </a:lnTo>
                <a:lnTo>
                  <a:pt x="242" y="35"/>
                </a:lnTo>
                <a:lnTo>
                  <a:pt x="240" y="40"/>
                </a:lnTo>
                <a:lnTo>
                  <a:pt x="236" y="47"/>
                </a:lnTo>
                <a:lnTo>
                  <a:pt x="236" y="47"/>
                </a:lnTo>
                <a:lnTo>
                  <a:pt x="198" y="9"/>
                </a:lnTo>
                <a:lnTo>
                  <a:pt x="198" y="9"/>
                </a:lnTo>
                <a:close/>
                <a:moveTo>
                  <a:pt x="52" y="192"/>
                </a:moveTo>
                <a:lnTo>
                  <a:pt x="52" y="192"/>
                </a:lnTo>
                <a:lnTo>
                  <a:pt x="51" y="190"/>
                </a:lnTo>
                <a:lnTo>
                  <a:pt x="48" y="190"/>
                </a:lnTo>
                <a:lnTo>
                  <a:pt x="45" y="190"/>
                </a:lnTo>
                <a:lnTo>
                  <a:pt x="44" y="192"/>
                </a:lnTo>
                <a:lnTo>
                  <a:pt x="44" y="192"/>
                </a:lnTo>
                <a:lnTo>
                  <a:pt x="43" y="194"/>
                </a:lnTo>
                <a:lnTo>
                  <a:pt x="42" y="195"/>
                </a:lnTo>
                <a:lnTo>
                  <a:pt x="43" y="198"/>
                </a:lnTo>
                <a:lnTo>
                  <a:pt x="44" y="201"/>
                </a:lnTo>
                <a:lnTo>
                  <a:pt x="44" y="201"/>
                </a:lnTo>
                <a:lnTo>
                  <a:pt x="45" y="202"/>
                </a:lnTo>
                <a:lnTo>
                  <a:pt x="48" y="202"/>
                </a:lnTo>
                <a:lnTo>
                  <a:pt x="51" y="202"/>
                </a:lnTo>
                <a:lnTo>
                  <a:pt x="52" y="201"/>
                </a:lnTo>
                <a:lnTo>
                  <a:pt x="52" y="201"/>
                </a:lnTo>
                <a:lnTo>
                  <a:pt x="53" y="198"/>
                </a:lnTo>
                <a:lnTo>
                  <a:pt x="53" y="195"/>
                </a:lnTo>
                <a:lnTo>
                  <a:pt x="53" y="194"/>
                </a:lnTo>
                <a:lnTo>
                  <a:pt x="52" y="192"/>
                </a:lnTo>
                <a:lnTo>
                  <a:pt x="52" y="192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/>
          </a:p>
        </p:txBody>
      </p:sp>
      <p:grpSp>
        <p:nvGrpSpPr>
          <p:cNvPr id="4" name="Группа 3"/>
          <p:cNvGrpSpPr/>
          <p:nvPr/>
        </p:nvGrpSpPr>
        <p:grpSpPr>
          <a:xfrm>
            <a:off x="2045908" y="2805161"/>
            <a:ext cx="973408" cy="973408"/>
            <a:chOff x="2045908" y="2805161"/>
            <a:chExt cx="973408" cy="973408"/>
          </a:xfrm>
        </p:grpSpPr>
        <p:sp>
          <p:nvSpPr>
            <p:cNvPr id="27" name="Овал 12"/>
            <p:cNvSpPr/>
            <p:nvPr/>
          </p:nvSpPr>
          <p:spPr>
            <a:xfrm>
              <a:off x="2045908" y="2805161"/>
              <a:ext cx="973408" cy="973408"/>
            </a:xfrm>
            <a:prstGeom prst="ellipse">
              <a:avLst/>
            </a:prstGeom>
            <a:noFill/>
            <a:ln w="19050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2800" dirty="0" err="1" smtClean="0">
                <a:solidFill>
                  <a:schemeClr val="bg1"/>
                </a:solidFill>
              </a:endParaRPr>
            </a:p>
          </p:txBody>
        </p:sp>
        <p:grpSp>
          <p:nvGrpSpPr>
            <p:cNvPr id="33" name="Group 194"/>
            <p:cNvGrpSpPr/>
            <p:nvPr/>
          </p:nvGrpSpPr>
          <p:grpSpPr>
            <a:xfrm>
              <a:off x="2246859" y="3019884"/>
              <a:ext cx="571504" cy="571504"/>
              <a:chOff x="3337950" y="3799412"/>
              <a:chExt cx="748449" cy="748449"/>
            </a:xfrm>
            <a:solidFill>
              <a:srgbClr val="2D3494"/>
            </a:solidFill>
          </p:grpSpPr>
          <p:sp>
            <p:nvSpPr>
              <p:cNvPr id="34" name="Freeform 165"/>
              <p:cNvSpPr>
                <a:spLocks noEditPoints="1"/>
              </p:cNvSpPr>
              <p:nvPr/>
            </p:nvSpPr>
            <p:spPr bwMode="auto">
              <a:xfrm>
                <a:off x="3337950" y="3799412"/>
                <a:ext cx="748449" cy="748449"/>
              </a:xfrm>
              <a:custGeom>
                <a:avLst/>
                <a:gdLst>
                  <a:gd name="T0" fmla="*/ 392 w 392"/>
                  <a:gd name="T1" fmla="*/ 196 h 392"/>
                  <a:gd name="T2" fmla="*/ 335 w 392"/>
                  <a:gd name="T3" fmla="*/ 57 h 392"/>
                  <a:gd name="T4" fmla="*/ 196 w 392"/>
                  <a:gd name="T5" fmla="*/ 0 h 392"/>
                  <a:gd name="T6" fmla="*/ 57 w 392"/>
                  <a:gd name="T7" fmla="*/ 57 h 392"/>
                  <a:gd name="T8" fmla="*/ 0 w 392"/>
                  <a:gd name="T9" fmla="*/ 196 h 392"/>
                  <a:gd name="T10" fmla="*/ 0 w 392"/>
                  <a:gd name="T11" fmla="*/ 203 h 392"/>
                  <a:gd name="T12" fmla="*/ 57 w 392"/>
                  <a:gd name="T13" fmla="*/ 335 h 392"/>
                  <a:gd name="T14" fmla="*/ 155 w 392"/>
                  <a:gd name="T15" fmla="*/ 388 h 392"/>
                  <a:gd name="T16" fmla="*/ 189 w 392"/>
                  <a:gd name="T17" fmla="*/ 392 h 392"/>
                  <a:gd name="T18" fmla="*/ 196 w 392"/>
                  <a:gd name="T19" fmla="*/ 392 h 392"/>
                  <a:gd name="T20" fmla="*/ 203 w 392"/>
                  <a:gd name="T21" fmla="*/ 392 h 392"/>
                  <a:gd name="T22" fmla="*/ 237 w 392"/>
                  <a:gd name="T23" fmla="*/ 388 h 392"/>
                  <a:gd name="T24" fmla="*/ 335 w 392"/>
                  <a:gd name="T25" fmla="*/ 335 h 392"/>
                  <a:gd name="T26" fmla="*/ 392 w 392"/>
                  <a:gd name="T27" fmla="*/ 196 h 392"/>
                  <a:gd name="T28" fmla="*/ 197 w 392"/>
                  <a:gd name="T29" fmla="*/ 36 h 392"/>
                  <a:gd name="T30" fmla="*/ 312 w 392"/>
                  <a:gd name="T31" fmla="*/ 83 h 392"/>
                  <a:gd name="T32" fmla="*/ 360 w 392"/>
                  <a:gd name="T33" fmla="*/ 198 h 392"/>
                  <a:gd name="T34" fmla="*/ 312 w 392"/>
                  <a:gd name="T35" fmla="*/ 313 h 392"/>
                  <a:gd name="T36" fmla="*/ 197 w 392"/>
                  <a:gd name="T37" fmla="*/ 361 h 392"/>
                  <a:gd name="T38" fmla="*/ 82 w 392"/>
                  <a:gd name="T39" fmla="*/ 313 h 392"/>
                  <a:gd name="T40" fmla="*/ 34 w 392"/>
                  <a:gd name="T41" fmla="*/ 198 h 392"/>
                  <a:gd name="T42" fmla="*/ 82 w 392"/>
                  <a:gd name="T43" fmla="*/ 83 h 392"/>
                  <a:gd name="T44" fmla="*/ 197 w 392"/>
                  <a:gd name="T45" fmla="*/ 36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92" h="392">
                    <a:moveTo>
                      <a:pt x="392" y="196"/>
                    </a:moveTo>
                    <a:cubicBezTo>
                      <a:pt x="392" y="142"/>
                      <a:pt x="373" y="96"/>
                      <a:pt x="335" y="57"/>
                    </a:cubicBezTo>
                    <a:cubicBezTo>
                      <a:pt x="296" y="19"/>
                      <a:pt x="250" y="0"/>
                      <a:pt x="196" y="0"/>
                    </a:cubicBezTo>
                    <a:cubicBezTo>
                      <a:pt x="142" y="0"/>
                      <a:pt x="96" y="19"/>
                      <a:pt x="57" y="57"/>
                    </a:cubicBezTo>
                    <a:cubicBezTo>
                      <a:pt x="19" y="96"/>
                      <a:pt x="0" y="142"/>
                      <a:pt x="0" y="196"/>
                    </a:cubicBezTo>
                    <a:cubicBezTo>
                      <a:pt x="0" y="198"/>
                      <a:pt x="0" y="201"/>
                      <a:pt x="0" y="203"/>
                    </a:cubicBezTo>
                    <a:cubicBezTo>
                      <a:pt x="2" y="254"/>
                      <a:pt x="20" y="298"/>
                      <a:pt x="57" y="335"/>
                    </a:cubicBezTo>
                    <a:cubicBezTo>
                      <a:pt x="85" y="363"/>
                      <a:pt x="118" y="381"/>
                      <a:pt x="155" y="388"/>
                    </a:cubicBezTo>
                    <a:cubicBezTo>
                      <a:pt x="189" y="392"/>
                      <a:pt x="189" y="392"/>
                      <a:pt x="189" y="392"/>
                    </a:cubicBezTo>
                    <a:cubicBezTo>
                      <a:pt x="191" y="392"/>
                      <a:pt x="194" y="392"/>
                      <a:pt x="196" y="392"/>
                    </a:cubicBezTo>
                    <a:cubicBezTo>
                      <a:pt x="198" y="392"/>
                      <a:pt x="200" y="392"/>
                      <a:pt x="203" y="392"/>
                    </a:cubicBezTo>
                    <a:cubicBezTo>
                      <a:pt x="237" y="388"/>
                      <a:pt x="237" y="388"/>
                      <a:pt x="237" y="388"/>
                    </a:cubicBezTo>
                    <a:cubicBezTo>
                      <a:pt x="274" y="381"/>
                      <a:pt x="307" y="363"/>
                      <a:pt x="335" y="335"/>
                    </a:cubicBezTo>
                    <a:cubicBezTo>
                      <a:pt x="373" y="297"/>
                      <a:pt x="392" y="250"/>
                      <a:pt x="392" y="196"/>
                    </a:cubicBezTo>
                    <a:close/>
                    <a:moveTo>
                      <a:pt x="197" y="36"/>
                    </a:moveTo>
                    <a:cubicBezTo>
                      <a:pt x="242" y="36"/>
                      <a:pt x="280" y="51"/>
                      <a:pt x="312" y="83"/>
                    </a:cubicBezTo>
                    <a:cubicBezTo>
                      <a:pt x="344" y="115"/>
                      <a:pt x="360" y="153"/>
                      <a:pt x="360" y="198"/>
                    </a:cubicBezTo>
                    <a:cubicBezTo>
                      <a:pt x="360" y="243"/>
                      <a:pt x="344" y="281"/>
                      <a:pt x="312" y="313"/>
                    </a:cubicBezTo>
                    <a:cubicBezTo>
                      <a:pt x="280" y="345"/>
                      <a:pt x="242" y="361"/>
                      <a:pt x="197" y="361"/>
                    </a:cubicBezTo>
                    <a:cubicBezTo>
                      <a:pt x="152" y="361"/>
                      <a:pt x="113" y="345"/>
                      <a:pt x="82" y="313"/>
                    </a:cubicBezTo>
                    <a:cubicBezTo>
                      <a:pt x="50" y="281"/>
                      <a:pt x="34" y="243"/>
                      <a:pt x="34" y="198"/>
                    </a:cubicBezTo>
                    <a:cubicBezTo>
                      <a:pt x="34" y="153"/>
                      <a:pt x="50" y="115"/>
                      <a:pt x="82" y="83"/>
                    </a:cubicBezTo>
                    <a:cubicBezTo>
                      <a:pt x="113" y="51"/>
                      <a:pt x="152" y="36"/>
                      <a:pt x="197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lIns="84406" tIns="42203" rIns="84406" bIns="42203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62">
                  <a:latin typeface="+mn-lt"/>
                  <a:cs typeface="+mn-cs"/>
                </a:endParaRPr>
              </a:p>
            </p:txBody>
          </p:sp>
          <p:sp>
            <p:nvSpPr>
              <p:cNvPr id="35" name="Freeform 166"/>
              <p:cNvSpPr>
                <a:spLocks/>
              </p:cNvSpPr>
              <p:nvPr/>
            </p:nvSpPr>
            <p:spPr bwMode="auto">
              <a:xfrm>
                <a:off x="3553523" y="3889032"/>
                <a:ext cx="230913" cy="368169"/>
              </a:xfrm>
              <a:custGeom>
                <a:avLst/>
                <a:gdLst>
                  <a:gd name="T0" fmla="*/ 121 w 121"/>
                  <a:gd name="T1" fmla="*/ 8 h 193"/>
                  <a:gd name="T2" fmla="*/ 120 w 121"/>
                  <a:gd name="T3" fmla="*/ 3 h 193"/>
                  <a:gd name="T4" fmla="*/ 116 w 121"/>
                  <a:gd name="T5" fmla="*/ 1 h 193"/>
                  <a:gd name="T6" fmla="*/ 116 w 121"/>
                  <a:gd name="T7" fmla="*/ 1 h 193"/>
                  <a:gd name="T8" fmla="*/ 112 w 121"/>
                  <a:gd name="T9" fmla="*/ 2 h 193"/>
                  <a:gd name="T10" fmla="*/ 109 w 121"/>
                  <a:gd name="T11" fmla="*/ 5 h 193"/>
                  <a:gd name="T12" fmla="*/ 82 w 121"/>
                  <a:gd name="T13" fmla="*/ 131 h 193"/>
                  <a:gd name="T14" fmla="*/ 70 w 121"/>
                  <a:gd name="T15" fmla="*/ 136 h 193"/>
                  <a:gd name="T16" fmla="*/ 65 w 121"/>
                  <a:gd name="T17" fmla="*/ 149 h 193"/>
                  <a:gd name="T18" fmla="*/ 7 w 121"/>
                  <a:gd name="T19" fmla="*/ 173 h 193"/>
                  <a:gd name="T20" fmla="*/ 1 w 121"/>
                  <a:gd name="T21" fmla="*/ 178 h 193"/>
                  <a:gd name="T22" fmla="*/ 1 w 121"/>
                  <a:gd name="T23" fmla="*/ 186 h 193"/>
                  <a:gd name="T24" fmla="*/ 1 w 121"/>
                  <a:gd name="T25" fmla="*/ 186 h 193"/>
                  <a:gd name="T26" fmla="*/ 7 w 121"/>
                  <a:gd name="T27" fmla="*/ 192 h 193"/>
                  <a:gd name="T28" fmla="*/ 15 w 121"/>
                  <a:gd name="T29" fmla="*/ 192 h 193"/>
                  <a:gd name="T30" fmla="*/ 76 w 121"/>
                  <a:gd name="T31" fmla="*/ 166 h 193"/>
                  <a:gd name="T32" fmla="*/ 83 w 121"/>
                  <a:gd name="T33" fmla="*/ 167 h 193"/>
                  <a:gd name="T34" fmla="*/ 96 w 121"/>
                  <a:gd name="T35" fmla="*/ 162 h 193"/>
                  <a:gd name="T36" fmla="*/ 101 w 121"/>
                  <a:gd name="T37" fmla="*/ 149 h 193"/>
                  <a:gd name="T38" fmla="*/ 96 w 121"/>
                  <a:gd name="T39" fmla="*/ 136 h 193"/>
                  <a:gd name="T40" fmla="*/ 94 w 121"/>
                  <a:gd name="T41" fmla="*/ 135 h 193"/>
                  <a:gd name="T42" fmla="*/ 121 w 121"/>
                  <a:gd name="T43" fmla="*/ 8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1" h="193">
                    <a:moveTo>
                      <a:pt x="121" y="8"/>
                    </a:moveTo>
                    <a:cubicBezTo>
                      <a:pt x="121" y="6"/>
                      <a:pt x="121" y="5"/>
                      <a:pt x="120" y="3"/>
                    </a:cubicBezTo>
                    <a:cubicBezTo>
                      <a:pt x="119" y="2"/>
                      <a:pt x="118" y="1"/>
                      <a:pt x="116" y="1"/>
                    </a:cubicBezTo>
                    <a:cubicBezTo>
                      <a:pt x="116" y="1"/>
                      <a:pt x="116" y="1"/>
                      <a:pt x="116" y="1"/>
                    </a:cubicBezTo>
                    <a:cubicBezTo>
                      <a:pt x="114" y="0"/>
                      <a:pt x="113" y="1"/>
                      <a:pt x="112" y="2"/>
                    </a:cubicBezTo>
                    <a:cubicBezTo>
                      <a:pt x="110" y="2"/>
                      <a:pt x="109" y="4"/>
                      <a:pt x="109" y="5"/>
                    </a:cubicBezTo>
                    <a:cubicBezTo>
                      <a:pt x="82" y="131"/>
                      <a:pt x="82" y="131"/>
                      <a:pt x="82" y="131"/>
                    </a:cubicBezTo>
                    <a:cubicBezTo>
                      <a:pt x="78" y="132"/>
                      <a:pt x="74" y="133"/>
                      <a:pt x="70" y="136"/>
                    </a:cubicBezTo>
                    <a:cubicBezTo>
                      <a:pt x="67" y="140"/>
                      <a:pt x="65" y="144"/>
                      <a:pt x="65" y="149"/>
                    </a:cubicBezTo>
                    <a:cubicBezTo>
                      <a:pt x="7" y="173"/>
                      <a:pt x="7" y="173"/>
                      <a:pt x="7" y="173"/>
                    </a:cubicBezTo>
                    <a:cubicBezTo>
                      <a:pt x="4" y="174"/>
                      <a:pt x="2" y="176"/>
                      <a:pt x="1" y="178"/>
                    </a:cubicBezTo>
                    <a:cubicBezTo>
                      <a:pt x="0" y="181"/>
                      <a:pt x="0" y="184"/>
                      <a:pt x="1" y="186"/>
                    </a:cubicBezTo>
                    <a:cubicBezTo>
                      <a:pt x="1" y="186"/>
                      <a:pt x="1" y="186"/>
                      <a:pt x="1" y="186"/>
                    </a:cubicBezTo>
                    <a:cubicBezTo>
                      <a:pt x="2" y="189"/>
                      <a:pt x="4" y="190"/>
                      <a:pt x="7" y="192"/>
                    </a:cubicBezTo>
                    <a:cubicBezTo>
                      <a:pt x="9" y="193"/>
                      <a:pt x="12" y="193"/>
                      <a:pt x="15" y="192"/>
                    </a:cubicBezTo>
                    <a:cubicBezTo>
                      <a:pt x="76" y="166"/>
                      <a:pt x="76" y="166"/>
                      <a:pt x="76" y="166"/>
                    </a:cubicBezTo>
                    <a:cubicBezTo>
                      <a:pt x="78" y="167"/>
                      <a:pt x="80" y="167"/>
                      <a:pt x="83" y="167"/>
                    </a:cubicBezTo>
                    <a:cubicBezTo>
                      <a:pt x="88" y="167"/>
                      <a:pt x="93" y="166"/>
                      <a:pt x="96" y="162"/>
                    </a:cubicBezTo>
                    <a:cubicBezTo>
                      <a:pt x="100" y="159"/>
                      <a:pt x="101" y="154"/>
                      <a:pt x="101" y="149"/>
                    </a:cubicBezTo>
                    <a:cubicBezTo>
                      <a:pt x="101" y="144"/>
                      <a:pt x="100" y="140"/>
                      <a:pt x="96" y="136"/>
                    </a:cubicBezTo>
                    <a:cubicBezTo>
                      <a:pt x="95" y="136"/>
                      <a:pt x="95" y="135"/>
                      <a:pt x="94" y="135"/>
                    </a:cubicBezTo>
                    <a:lnTo>
                      <a:pt x="121" y="8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lIns="84406" tIns="42203" rIns="84406" bIns="42203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62">
                  <a:latin typeface="+mn-lt"/>
                  <a:cs typeface="+mn-cs"/>
                </a:endParaRPr>
              </a:p>
            </p:txBody>
          </p:sp>
        </p:grpSp>
      </p:grpSp>
      <p:sp>
        <p:nvSpPr>
          <p:cNvPr id="36" name="Овал 12"/>
          <p:cNvSpPr/>
          <p:nvPr/>
        </p:nvSpPr>
        <p:spPr>
          <a:xfrm>
            <a:off x="2045908" y="1708553"/>
            <a:ext cx="973408" cy="973408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6000" b="1" dirty="0" smtClean="0">
                <a:solidFill>
                  <a:srgbClr val="2D3494"/>
                </a:solidFill>
              </a:rPr>
              <a:t>?</a:t>
            </a:r>
          </a:p>
        </p:txBody>
      </p:sp>
    </p:spTree>
    <p:extLst>
      <p:ext uri="{BB962C8B-B14F-4D97-AF65-F5344CB8AC3E}">
        <p14:creationId xmlns="" xmlns:p14="http://schemas.microsoft.com/office/powerpoint/2010/main" val="345786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454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28" y="628877"/>
            <a:ext cx="6534151" cy="258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544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791" y="3079524"/>
            <a:ext cx="5372100" cy="2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92898417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16619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1024708" y="205909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НАЛИЧИЕ РАЗНООБРАЗНЫХ ЗАДАНИЙ</a:t>
            </a:r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altLang="ru-RU" sz="24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822316" y="1175759"/>
            <a:ext cx="9526371" cy="5515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600" dirty="0"/>
              <a:t>Позволяет реализовать принципы развивающего обучения и создает условия для творческой свободы учителя и самореализации ученика и </a:t>
            </a:r>
            <a:r>
              <a:rPr lang="ru-RU" sz="1600" dirty="0" smtClean="0"/>
              <a:t>учителя</a:t>
            </a:r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altLang="ru-RU" sz="1600" dirty="0">
              <a:cs typeface="Calibri" panose="020F0502020204030204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0887725" y="262110"/>
            <a:ext cx="925523" cy="130072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544436" y="658155"/>
            <a:ext cx="968645" cy="13103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Овал 8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316593" name="Picture 17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29" y="1727200"/>
            <a:ext cx="2014536" cy="2642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6594" name="Picture 17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1965" y="1968500"/>
            <a:ext cx="8010525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6597" name="Picture 18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0084" y="4654548"/>
            <a:ext cx="8134351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6598" name="Picture 18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0089" y="3794808"/>
            <a:ext cx="777240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347278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                </a:t>
            </a:r>
            <a:r>
              <a:rPr lang="ru-RU" sz="2800" dirty="0" smtClean="0"/>
              <a:t>НАЛИЧИЕ </a:t>
            </a:r>
            <a:r>
              <a:rPr lang="ru-RU" sz="2800" dirty="0"/>
              <a:t>РАЗНОБРАЗНЫХ ЗАДАНИЙ</a:t>
            </a:r>
            <a:br>
              <a:rPr lang="ru-RU" sz="2800" dirty="0"/>
            </a:br>
            <a:endParaRPr lang="ru-RU" sz="2800" dirty="0"/>
          </a:p>
        </p:txBody>
      </p:sp>
      <p:pic>
        <p:nvPicPr>
          <p:cNvPr id="44646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4" y="1686571"/>
            <a:ext cx="5555343" cy="4305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887725" y="262110"/>
            <a:ext cx="925523" cy="130072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696836" y="810558"/>
            <a:ext cx="968645" cy="13103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Овал 7"/>
          <p:cNvSpPr/>
          <p:nvPr/>
        </p:nvSpPr>
        <p:spPr>
          <a:xfrm>
            <a:off x="214177" y="223106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1887" y="1132216"/>
            <a:ext cx="10058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b="1" dirty="0">
                <a:solidFill>
                  <a:srgbClr val="2D3494"/>
                </a:solidFill>
              </a:rPr>
              <a:t>Позволяет реализовать принципы развивающего обучения и создает условия для творческой свободы учителя и самореализации ученика и учителя</a:t>
            </a:r>
          </a:p>
        </p:txBody>
      </p:sp>
      <p:pic>
        <p:nvPicPr>
          <p:cNvPr id="44646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6947" y="1861810"/>
            <a:ext cx="5069945" cy="3732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66293700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17636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975007" y="215848"/>
            <a:ext cx="8711393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ТВОРЧЕСКИЕ ЗАДАЧИ</a:t>
            </a: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altLang="ru-RU" sz="24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975008" y="1190273"/>
            <a:ext cx="8599567" cy="53702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600" dirty="0" smtClean="0"/>
              <a:t>Помогают выявить индивидуальные способности и возможности учащегося</a:t>
            </a:r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sz="1600" dirty="0"/>
          </a:p>
          <a:p>
            <a:endParaRPr lang="ru-RU" sz="1600" dirty="0" smtClean="0"/>
          </a:p>
          <a:p>
            <a:endParaRPr lang="ru-RU" altLang="ru-RU" sz="1600" dirty="0">
              <a:cs typeface="Calibri" panose="020F050202020403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0887725" y="262110"/>
            <a:ext cx="925523" cy="130072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544436" y="658155"/>
            <a:ext cx="968645" cy="13103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Овал 8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317611" name="Picture 17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643656"/>
            <a:ext cx="6531429" cy="2945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7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231" y="2528989"/>
            <a:ext cx="7596209" cy="101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7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09765"/>
            <a:ext cx="7848600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617" name="Picture 17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845" y="3707218"/>
            <a:ext cx="5693007" cy="19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102125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319685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994887" y="215848"/>
            <a:ext cx="8711393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ПОДРОБНЫЕ ИЛЛЮСТРАЦИИ УЧЕБНИКОВ</a:t>
            </a: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sz="2400" dirty="0">
              <a:latin typeface="+mj-lt"/>
            </a:endParaRPr>
          </a:p>
          <a:p>
            <a:endParaRPr lang="ru-RU" sz="2400" dirty="0" smtClean="0">
              <a:latin typeface="+mj-lt"/>
            </a:endParaRPr>
          </a:p>
          <a:p>
            <a:endParaRPr lang="ru-RU" altLang="ru-RU" sz="2400" dirty="0"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114797" y="105421"/>
            <a:ext cx="925523" cy="130072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608916" y="426773"/>
            <a:ext cx="968645" cy="13103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Овал 7"/>
          <p:cNvSpPr/>
          <p:nvPr/>
        </p:nvSpPr>
        <p:spPr>
          <a:xfrm>
            <a:off x="214177" y="122703"/>
            <a:ext cx="608139" cy="60813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319656" name="Picture 16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26424"/>
            <a:ext cx="3663599" cy="253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9657" name="Picture 16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7" y="3848442"/>
            <a:ext cx="3295651" cy="279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9658" name="Picture 17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4556" y="1081947"/>
            <a:ext cx="2752725" cy="376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AutoShape 173" descr="https://reader.lecta.rosuchebnik.ru/read/7891/data/images/012.eps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175" descr="https://reader.lecta.rosuchebnik.ru/read/7891/data/images/012.eps.jpg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19664" name="Picture 17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0767" y="399320"/>
            <a:ext cx="3041176" cy="3210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9665" name="Picture 17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0157" y="3386569"/>
            <a:ext cx="3210163" cy="2670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9666" name="Picture 17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232" y="4483656"/>
            <a:ext cx="4781551" cy="197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249388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altLang="ru-RU" sz="44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ивация кода  семинара</a:t>
            </a:r>
          </a:p>
        </p:txBody>
      </p:sp>
      <p:pic>
        <p:nvPicPr>
          <p:cNvPr id="73731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94100" y="2693994"/>
            <a:ext cx="5003800" cy="2338387"/>
          </a:xfrm>
        </p:spPr>
      </p:pic>
    </p:spTree>
    <p:extLst>
      <p:ext uri="{BB962C8B-B14F-4D97-AF65-F5344CB8AC3E}">
        <p14:creationId xmlns="" xmlns:p14="http://schemas.microsoft.com/office/powerpoint/2010/main" val="785378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4" name="Рисунок 7" descr="Вырезка экрана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73798"/>
          <a:stretch>
            <a:fillRect/>
          </a:stretch>
        </p:blipFill>
        <p:spPr bwMode="auto">
          <a:xfrm>
            <a:off x="0" y="1474788"/>
            <a:ext cx="12192000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Рисунок 12" descr="Вырезка экрана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2151" y="2000250"/>
            <a:ext cx="2819400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55751" y="220666"/>
            <a:ext cx="10083800" cy="1050925"/>
          </a:xfrm>
        </p:spPr>
        <p:txBody>
          <a:bodyPr rtlCol="0">
            <a:noAutofit/>
          </a:bodyPr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3600" b="1" dirty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>Бесплатный доступ </a:t>
            </a:r>
            <a:r>
              <a:rPr lang="en-US" sz="3600" b="1" dirty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/>
            </a:r>
            <a:br>
              <a:rPr lang="en-US" sz="3600" b="1" dirty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</a:br>
            <a:r>
              <a:rPr lang="ru-RU" sz="3600" b="1" dirty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>к </a:t>
            </a:r>
            <a:r>
              <a:rPr lang="en-US" sz="3600" b="1" dirty="0" smtClean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>5</a:t>
            </a:r>
            <a:r>
              <a:rPr lang="ru-RU" sz="3600" b="1" dirty="0" smtClean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> </a:t>
            </a:r>
            <a:r>
              <a:rPr lang="ru-RU" sz="3600" b="1" dirty="0">
                <a:ln w="0"/>
                <a:solidFill>
                  <a:srgbClr val="009999"/>
                </a:solidFill>
                <a:latin typeface="Cambria" panose="02040503050406030204" pitchFamily="18" charset="0"/>
                <a:ea typeface="+mn-ea"/>
                <a:cs typeface="+mn-cs"/>
              </a:rPr>
              <a:t>любым ЭФУ на платформе</a:t>
            </a:r>
            <a:endParaRPr lang="ru-RU" sz="3600" b="1" dirty="0">
              <a:ln w="0"/>
              <a:solidFill>
                <a:schemeClr val="bg1"/>
              </a:solidFill>
              <a:latin typeface="Cambria" panose="02040503050406030204" pitchFamily="18" charset="0"/>
              <a:ea typeface="+mn-ea"/>
              <a:cs typeface="+mn-cs"/>
            </a:endParaRPr>
          </a:p>
        </p:txBody>
      </p:sp>
      <p:pic>
        <p:nvPicPr>
          <p:cNvPr id="74757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5551" y="133357"/>
            <a:ext cx="1841500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8" name="Picture 2" descr="https://avatars.mds.yandex.net/get-mail-signature/329338/6409938b59f2f200c6d685c52098dc2f/ori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35107" b="-11772"/>
          <a:stretch>
            <a:fillRect/>
          </a:stretch>
        </p:blipFill>
        <p:spPr bwMode="auto">
          <a:xfrm>
            <a:off x="135467" y="180975"/>
            <a:ext cx="2944284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135467" y="4019558"/>
            <a:ext cx="12192000" cy="2123658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buFont typeface="+mj-lt"/>
              <a:buAutoNum type="arabicPeriod"/>
              <a:defRPr/>
            </a:pP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Выполнить вход в личный кабинет на портале </a:t>
            </a:r>
            <a:r>
              <a:rPr lang="en-US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  <a:hlinkClick r:id="rId6"/>
              </a:rPr>
              <a:t>https://lecta.ru</a:t>
            </a: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, используя свой логин и пароль.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Активировать код </a:t>
            </a:r>
            <a:r>
              <a:rPr lang="ru-RU" sz="20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(в </a:t>
            </a:r>
            <a:r>
              <a:rPr lang="ru-RU" sz="2000" b="1" dirty="0">
                <a:solidFill>
                  <a:srgbClr val="C00000"/>
                </a:solidFill>
                <a:latin typeface="Cambria" panose="02040503050406030204" pitchFamily="18" charset="0"/>
                <a:cs typeface="Arial" charset="0"/>
              </a:rPr>
              <a:t>письме с Сертификатом участника </a:t>
            </a:r>
            <a:r>
              <a:rPr lang="ru-RU" sz="20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на </a:t>
            </a:r>
            <a:r>
              <a:rPr lang="en-US" sz="20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e-mail</a:t>
            </a:r>
            <a:r>
              <a:rPr lang="ru-RU" sz="20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)</a:t>
            </a:r>
            <a:r>
              <a:rPr lang="en-US" sz="20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 </a:t>
            </a:r>
            <a:endParaRPr lang="ru-RU" sz="2000" dirty="0">
              <a:solidFill>
                <a:prstClr val="black"/>
              </a:solidFill>
              <a:latin typeface="Cambria" panose="02040503050406030204" pitchFamily="18" charset="0"/>
              <a:cs typeface="Arial" charset="0"/>
            </a:endParaRPr>
          </a:p>
          <a:p>
            <a:pPr marL="457200" indent="-457200">
              <a:buFont typeface="+mj-lt"/>
              <a:buAutoNum type="arabicPeriod"/>
              <a:defRPr/>
            </a:pP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Выбрать учебники, нажав кнопку «Выбрать» и «Подтвердить»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Выбранные учебники доступны в Вашем портфеле </a:t>
            </a:r>
            <a:r>
              <a:rPr lang="ru-RU" sz="2200" b="1" u="sng" dirty="0">
                <a:solidFill>
                  <a:srgbClr val="C00000"/>
                </a:solidFill>
                <a:latin typeface="Cambria" panose="02040503050406030204" pitchFamily="18" charset="0"/>
                <a:cs typeface="Arial" charset="0"/>
              </a:rPr>
              <a:t>в течение 60 дней</a:t>
            </a: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.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ru-RU" sz="2200" dirty="0">
                <a:solidFill>
                  <a:prstClr val="black"/>
                </a:solidFill>
                <a:latin typeface="Cambria" panose="02040503050406030204" pitchFamily="18" charset="0"/>
                <a:cs typeface="Arial" charset="0"/>
              </a:rPr>
              <a:t>Для начала работы с учебником нажмите на обложку ЭФУ.</a:t>
            </a:r>
          </a:p>
        </p:txBody>
      </p:sp>
      <p:sp>
        <p:nvSpPr>
          <p:cNvPr id="4" name="Прямоугольник: скругленные углы 3"/>
          <p:cNvSpPr/>
          <p:nvPr/>
        </p:nvSpPr>
        <p:spPr>
          <a:xfrm>
            <a:off x="8096317" y="1474788"/>
            <a:ext cx="1672167" cy="354012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10" name="Прямая со стрелкой 9"/>
          <p:cNvCxnSpPr>
            <a:cxnSpLocks/>
          </p:cNvCxnSpPr>
          <p:nvPr/>
        </p:nvCxnSpPr>
        <p:spPr>
          <a:xfrm flipH="1">
            <a:off x="6231523" y="1828802"/>
            <a:ext cx="2569633" cy="1382713"/>
          </a:xfrm>
          <a:prstGeom prst="straightConnector1">
            <a:avLst/>
          </a:prstGeom>
          <a:ln w="41275"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8830800" y="4089400"/>
            <a:ext cx="4144433" cy="338138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prstClr val="black"/>
                </a:solidFill>
                <a:cs typeface="Arial" charset="0"/>
                <a:hlinkClick r:id="rId7"/>
              </a:rPr>
              <a:t>http://lecta.rosuchebnin.ru</a:t>
            </a:r>
            <a:r>
              <a:rPr lang="en-US" sz="1600" b="1" dirty="0">
                <a:solidFill>
                  <a:prstClr val="black"/>
                </a:solidFill>
                <a:cs typeface="Arial" charset="0"/>
              </a:rPr>
              <a:t> </a:t>
            </a:r>
            <a:endParaRPr lang="ru-RU" sz="1600" b="1" dirty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40198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71036" y="2932116"/>
            <a:ext cx="9834033" cy="250825"/>
          </a:xfrm>
        </p:spPr>
        <p:txBody>
          <a:bodyPr rtlCol="0">
            <a:normAutofit fontScale="90000"/>
          </a:bodyPr>
          <a:lstStyle/>
          <a:p>
            <a:pPr defTabSz="914378" fontAlgn="auto"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type="subTitle" idx="1"/>
          </p:nvPr>
        </p:nvSpPr>
        <p:spPr>
          <a:xfrm>
            <a:off x="1092820" y="3182288"/>
            <a:ext cx="10169912" cy="1727875"/>
          </a:xfrm>
        </p:spPr>
        <p:txBody>
          <a:bodyPr rtlCol="0">
            <a:normAutofit fontScale="55000" lnSpcReduction="20000"/>
          </a:bodyPr>
          <a:lstStyle/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7200" kern="10" dirty="0">
              <a:ln w="12700">
                <a:solidFill>
                  <a:srgbClr val="495E87"/>
                </a:solidFill>
                <a:round/>
                <a:headEnd/>
                <a:tailEnd/>
              </a:ln>
            </a:endParaRPr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7200" b="1" dirty="0"/>
              <a:t>8-495-795-05-35</a:t>
            </a:r>
            <a:r>
              <a:rPr lang="en-US" sz="7200" b="1" dirty="0"/>
              <a:t> (</a:t>
            </a:r>
            <a:r>
              <a:rPr lang="ru-RU" sz="7200" b="1" dirty="0"/>
              <a:t>доб.71-55</a:t>
            </a:r>
            <a:r>
              <a:rPr lang="en-US" sz="7200" b="1" dirty="0"/>
              <a:t>)</a:t>
            </a:r>
            <a:r>
              <a:rPr lang="ru-RU" sz="7200" b="1" dirty="0"/>
              <a:t>, </a:t>
            </a:r>
            <a:r>
              <a:rPr lang="en-US" sz="7200" dirty="0"/>
              <a:t>Kondrateva.EM@rosuchebnik.ru</a:t>
            </a:r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7200" dirty="0"/>
          </a:p>
          <a:p>
            <a:pPr defTabSz="914378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29617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altLang="ru-RU" sz="3000" b="1" smtClean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Код активации</a:t>
            </a:r>
          </a:p>
        </p:txBody>
      </p:sp>
      <p:sp>
        <p:nvSpPr>
          <p:cNvPr id="7680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r>
              <a:rPr lang="en-US" altLang="ru-RU" sz="4500" dirty="0" smtClean="0">
                <a:latin typeface="Times New Roman" pitchFamily="18" charset="0"/>
                <a:cs typeface="Times New Roman" pitchFamily="18" charset="0"/>
              </a:rPr>
              <a:t>UMK2019 </a:t>
            </a:r>
            <a:r>
              <a:rPr lang="ru-RU" altLang="ru-RU" sz="2800" dirty="0" smtClean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altLang="ru-RU" sz="2800" dirty="0" smtClean="0"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altLang="ru-RU" sz="2800" dirty="0" smtClean="0">
                <a:latin typeface="Times New Roman" pitchFamily="18" charset="0"/>
                <a:cs typeface="Times New Roman" pitchFamily="18" charset="0"/>
              </a:rPr>
              <a:t>ЭФУ)</a:t>
            </a:r>
          </a:p>
          <a:p>
            <a:pPr>
              <a:buFont typeface="Arial" charset="0"/>
              <a:buNone/>
            </a:pPr>
            <a:r>
              <a:rPr lang="en-US" altLang="ru-RU" sz="4500" dirty="0" err="1" smtClean="0">
                <a:latin typeface="Times New Roman" pitchFamily="18" charset="0"/>
                <a:cs typeface="Times New Roman" pitchFamily="18" charset="0"/>
              </a:rPr>
              <a:t>magicK</a:t>
            </a:r>
            <a:r>
              <a:rPr lang="en-US" altLang="ru-RU" sz="4500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ru-RU" sz="2700" dirty="0" smtClean="0">
                <a:latin typeface="Times New Roman" pitchFamily="18" charset="0"/>
                <a:cs typeface="Times New Roman" pitchFamily="18" charset="0"/>
              </a:rPr>
              <a:t>(5 </a:t>
            </a:r>
            <a:r>
              <a:rPr lang="ru-RU" altLang="ru-RU" sz="2700" dirty="0" smtClean="0">
                <a:latin typeface="Times New Roman" pitchFamily="18" charset="0"/>
                <a:cs typeface="Times New Roman" pitchFamily="18" charset="0"/>
              </a:rPr>
              <a:t>ЭФУ, тренажеров, пособий)</a:t>
            </a:r>
            <a:endParaRPr lang="en-US" altLang="ru-RU" sz="27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None/>
            </a:pPr>
            <a:r>
              <a:rPr lang="en-US" altLang="ru-RU" sz="4500" dirty="0" err="1" smtClean="0">
                <a:latin typeface="Times New Roman" pitchFamily="18" charset="0"/>
                <a:cs typeface="Times New Roman" pitchFamily="18" charset="0"/>
              </a:rPr>
              <a:t>magicH</a:t>
            </a:r>
            <a:r>
              <a:rPr lang="ru-RU" altLang="ru-RU" sz="4500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ru-RU" sz="2700" dirty="0" smtClean="0">
                <a:latin typeface="Times New Roman" pitchFamily="18" charset="0"/>
                <a:cs typeface="Times New Roman" pitchFamily="18" charset="0"/>
              </a:rPr>
              <a:t>(5 </a:t>
            </a:r>
            <a:r>
              <a:rPr lang="ru-RU" altLang="ru-RU" sz="2700" dirty="0" smtClean="0">
                <a:latin typeface="Times New Roman" pitchFamily="18" charset="0"/>
                <a:cs typeface="Times New Roman" pitchFamily="18" charset="0"/>
              </a:rPr>
              <a:t>ЭФУ, тренажеров, пособий)</a:t>
            </a:r>
            <a:endParaRPr lang="en-US" altLang="ru-RU" sz="27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None/>
            </a:pPr>
            <a:r>
              <a:rPr lang="en-US" altLang="ru-RU" sz="4500" dirty="0" err="1" smtClean="0">
                <a:latin typeface="Times New Roman" pitchFamily="18" charset="0"/>
                <a:cs typeface="Times New Roman" pitchFamily="18" charset="0"/>
              </a:rPr>
              <a:t>magicS</a:t>
            </a:r>
            <a:r>
              <a:rPr lang="en-US" altLang="ru-RU" sz="45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45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ru-RU" sz="2700" dirty="0" smtClean="0">
                <a:latin typeface="Times New Roman" pitchFamily="18" charset="0"/>
                <a:cs typeface="Times New Roman" pitchFamily="18" charset="0"/>
              </a:rPr>
              <a:t>(5 </a:t>
            </a:r>
            <a:r>
              <a:rPr lang="ru-RU" altLang="ru-RU" sz="2700" dirty="0" smtClean="0">
                <a:latin typeface="Times New Roman" pitchFamily="18" charset="0"/>
                <a:cs typeface="Times New Roman" pitchFamily="18" charset="0"/>
              </a:rPr>
              <a:t>ЭФУ, тренажеров, пособий)</a:t>
            </a:r>
          </a:p>
        </p:txBody>
      </p:sp>
    </p:spTree>
    <p:extLst>
      <p:ext uri="{BB962C8B-B14F-4D97-AF65-F5344CB8AC3E}">
        <p14:creationId xmlns="" xmlns:p14="http://schemas.microsoft.com/office/powerpoint/2010/main" val="1708125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817909758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125614" name="think-cell Slide" r:id="rId5" imgW="360" imgH="360" progId="">
              <p:embed/>
            </p:oleObj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332213" y="149048"/>
            <a:ext cx="11776931" cy="82455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В СЛУЧАЕ, ЕСЛИ ВЫ РАБОТАЕТЕ ПО </a:t>
            </a:r>
            <a:r>
              <a:rPr lang="ru-RU" sz="2400" dirty="0" smtClean="0">
                <a:solidFill>
                  <a:srgbClr val="FF0000"/>
                </a:solidFill>
                <a:latin typeface="+mj-lt"/>
              </a:rPr>
              <a:t>УМК ПАСЕЧНИКА </a:t>
            </a:r>
            <a:r>
              <a:rPr lang="ru-RU" sz="2400" dirty="0" smtClean="0">
                <a:latin typeface="+mj-lt"/>
              </a:rPr>
              <a:t>ИЛИ </a:t>
            </a:r>
            <a:r>
              <a:rPr lang="ru-RU" sz="2400" dirty="0" smtClean="0">
                <a:solidFill>
                  <a:srgbClr val="FF0000"/>
                </a:solidFill>
                <a:latin typeface="+mj-lt"/>
              </a:rPr>
              <a:t>УМК СОНИНА </a:t>
            </a:r>
            <a:r>
              <a:rPr lang="ru-RU" sz="2400" dirty="0"/>
              <a:t>ИЗДАТЕЛЬСТВА «ДРОФА» </a:t>
            </a:r>
            <a:r>
              <a:rPr lang="ru-RU" sz="2400" dirty="0" smtClean="0">
                <a:latin typeface="+mj-lt"/>
              </a:rPr>
              <a:t>, МЫ ПРЕДЛАГАЕМ ВАМ СЛЕДУЮЩИЙ АЛГОРИТМ ПРИНЯТИЯ РЕШЕНИЙ</a:t>
            </a:r>
            <a:endParaRPr lang="ru-RU" sz="2400" dirty="0">
              <a:latin typeface="+mj-lt"/>
            </a:endParaRP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5736505" y="4920468"/>
            <a:ext cx="6071819" cy="905139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920"/>
              </a:lnSpc>
            </a:pPr>
            <a:r>
              <a:rPr lang="ru-RU" sz="1600" dirty="0" smtClean="0">
                <a:latin typeface="+mn-lt"/>
              </a:rPr>
              <a:t>В случае необходимости перехода на другую линию</a:t>
            </a:r>
            <a:r>
              <a:rPr lang="en-US" sz="1600" dirty="0" smtClean="0">
                <a:latin typeface="+mn-lt"/>
              </a:rPr>
              <a:t>,</a:t>
            </a:r>
            <a:r>
              <a:rPr lang="ru-RU" sz="1600" dirty="0" smtClean="0">
                <a:latin typeface="+mn-lt"/>
              </a:rPr>
              <a:t> мы дадим вам рекомендации. </a:t>
            </a:r>
            <a:r>
              <a:rPr lang="ru-RU" sz="1600" b="1" dirty="0" smtClean="0">
                <a:solidFill>
                  <a:srgbClr val="2D3494"/>
                </a:solidFill>
                <a:latin typeface="+mn-lt"/>
              </a:rPr>
              <a:t>Обращайтесь к </a:t>
            </a:r>
            <a:r>
              <a:rPr lang="ru-RU" sz="1600" b="1" dirty="0">
                <a:solidFill>
                  <a:srgbClr val="2D3494"/>
                </a:solidFill>
                <a:latin typeface="+mn-lt"/>
              </a:rPr>
              <a:t>нашим </a:t>
            </a:r>
            <a:r>
              <a:rPr lang="ru-RU" sz="1600" b="1" dirty="0" smtClean="0">
                <a:solidFill>
                  <a:srgbClr val="2D3494"/>
                </a:solidFill>
                <a:latin typeface="+mn-lt"/>
              </a:rPr>
              <a:t>методистам за рекомендациями</a:t>
            </a:r>
            <a:r>
              <a:rPr lang="en-US" sz="1600" b="1" dirty="0" smtClean="0">
                <a:solidFill>
                  <a:srgbClr val="2D3494"/>
                </a:solidFill>
                <a:latin typeface="+mn-lt"/>
              </a:rPr>
              <a:t>: </a:t>
            </a:r>
            <a:r>
              <a:rPr lang="en-US" sz="1600" b="1" dirty="0" smtClean="0">
                <a:solidFill>
                  <a:srgbClr val="FC0652"/>
                </a:solidFill>
                <a:latin typeface="+mn-lt"/>
              </a:rPr>
              <a:t>metod@rosuchebnik.ru, 8-800-2000-550</a:t>
            </a:r>
            <a:endParaRPr lang="ru-RU" sz="1600" b="1" dirty="0">
              <a:solidFill>
                <a:srgbClr val="FC0652"/>
              </a:solidFill>
              <a:latin typeface="+mn-lt"/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4508275" y="3799342"/>
            <a:ext cx="7372569" cy="818062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920"/>
              </a:lnSpc>
              <a:spcBef>
                <a:spcPts val="0"/>
              </a:spcBef>
            </a:pPr>
            <a:r>
              <a:rPr lang="ru-RU" sz="1600" dirty="0" smtClean="0">
                <a:latin typeface="+mn-lt"/>
              </a:rPr>
              <a:t>Если библиотечные фонды вашей школы не обеспечены учебниками, </a:t>
            </a:r>
            <a:r>
              <a:rPr lang="ru-RU" sz="1600" b="1" dirty="0" smtClean="0">
                <a:solidFill>
                  <a:srgbClr val="2D3494"/>
                </a:solidFill>
                <a:latin typeface="+mn-lt"/>
              </a:rPr>
              <a:t>вы можете купить оставшиеся на складе учебники 2018 года издания за внебюджетные средства</a:t>
            </a:r>
            <a:endParaRPr lang="ru-RU" sz="1600" b="1" dirty="0">
              <a:solidFill>
                <a:srgbClr val="408671"/>
              </a:solidFill>
              <a:latin typeface="+mn-lt"/>
            </a:endParaRPr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1787055" y="1598135"/>
            <a:ext cx="8191345" cy="818062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920"/>
              </a:lnSpc>
            </a:pPr>
            <a:r>
              <a:rPr lang="ru-RU" sz="1600" dirty="0" smtClean="0">
                <a:latin typeface="+mn-lt"/>
              </a:rPr>
              <a:t>Продолжить работать по привычному учебнику</a:t>
            </a:r>
          </a:p>
          <a:p>
            <a:pPr>
              <a:lnSpc>
                <a:spcPts val="1920"/>
              </a:lnSpc>
            </a:pPr>
            <a:r>
              <a:rPr lang="ru-RU" sz="1600" b="1" dirty="0" smtClean="0">
                <a:solidFill>
                  <a:srgbClr val="2D3494"/>
                </a:solidFill>
                <a:latin typeface="+mn-lt"/>
              </a:rPr>
              <a:t>Ожидайте возвращения</a:t>
            </a:r>
            <a:r>
              <a:rPr lang="ru-RU" sz="1600" dirty="0" smtClean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600" dirty="0" smtClean="0">
                <a:latin typeface="+mn-lt"/>
              </a:rPr>
              <a:t>линий УМК Пасечника («Дрофа»), УМК Сонина («Дрофа») и УМК Суховой («</a:t>
            </a:r>
            <a:r>
              <a:rPr lang="ru-RU" sz="1600" dirty="0" err="1" smtClean="0">
                <a:latin typeface="+mn-lt"/>
              </a:rPr>
              <a:t>Вентана</a:t>
            </a:r>
            <a:r>
              <a:rPr lang="ru-RU" sz="1600" dirty="0" smtClean="0">
                <a:latin typeface="+mn-lt"/>
              </a:rPr>
              <a:t>-Граф») в ФПУ</a:t>
            </a:r>
            <a:endParaRPr lang="ru-RU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3155891" y="2655360"/>
            <a:ext cx="7372569" cy="818062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920"/>
              </a:lnSpc>
            </a:pPr>
            <a:r>
              <a:rPr lang="ru-RU" sz="1600" dirty="0" smtClean="0">
                <a:latin typeface="+mn-lt"/>
              </a:rPr>
              <a:t>Проверить наличие учебников в фондах. Если учебников не хватает, у вас есть законное право </a:t>
            </a:r>
            <a:r>
              <a:rPr lang="ru-RU" sz="1600" b="1" dirty="0" smtClean="0">
                <a:solidFill>
                  <a:srgbClr val="2D3494"/>
                </a:solidFill>
                <a:latin typeface="+mn-lt"/>
              </a:rPr>
              <a:t>купить нужный вам УМК в виде учебных пособий за бюджетные средства</a:t>
            </a:r>
            <a:endParaRPr lang="ru-RU" sz="1600" b="1" dirty="0">
              <a:solidFill>
                <a:srgbClr val="2D3494"/>
              </a:solidFill>
              <a:latin typeface="+mn-lt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350197" y="2642983"/>
            <a:ext cx="5497203" cy="3334678"/>
            <a:chOff x="1673045" y="3139176"/>
            <a:chExt cx="4751148" cy="2882112"/>
          </a:xfrm>
        </p:grpSpPr>
        <p:cxnSp>
          <p:nvCxnSpPr>
            <p:cNvPr id="19" name="Прямая соединительная линия 18"/>
            <p:cNvCxnSpPr/>
            <p:nvPr/>
          </p:nvCxnSpPr>
          <p:spPr>
            <a:xfrm>
              <a:off x="1673045" y="3139176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2866714" y="3139176"/>
              <a:ext cx="0" cy="960704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2" name="Прямая соединительная линия 21"/>
            <p:cNvCxnSpPr/>
            <p:nvPr/>
          </p:nvCxnSpPr>
          <p:spPr>
            <a:xfrm>
              <a:off x="2866714" y="4099880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3" name="Прямая соединительная линия 22"/>
            <p:cNvCxnSpPr/>
            <p:nvPr/>
          </p:nvCxnSpPr>
          <p:spPr>
            <a:xfrm>
              <a:off x="4055625" y="5060584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5230524" y="6021288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6" name="Прямая соединительная линия 25"/>
            <p:cNvCxnSpPr/>
            <p:nvPr/>
          </p:nvCxnSpPr>
          <p:spPr>
            <a:xfrm>
              <a:off x="4055625" y="4099880"/>
              <a:ext cx="0" cy="960704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5230524" y="5060584"/>
              <a:ext cx="0" cy="960704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</p:grpSp>
      <p:sp>
        <p:nvSpPr>
          <p:cNvPr id="28" name="Овал 27"/>
          <p:cNvSpPr/>
          <p:nvPr/>
        </p:nvSpPr>
        <p:spPr>
          <a:xfrm>
            <a:off x="656633" y="1548935"/>
            <a:ext cx="973408" cy="973408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chemeClr val="bg1"/>
              </a:solidFill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13644" y="1623015"/>
            <a:ext cx="658547" cy="768306"/>
          </a:xfrm>
          <a:prstGeom prst="rect">
            <a:avLst/>
          </a:prstGeom>
        </p:spPr>
      </p:pic>
      <p:sp>
        <p:nvSpPr>
          <p:cNvPr id="31" name="Овал 12"/>
          <p:cNvSpPr/>
          <p:nvPr/>
        </p:nvSpPr>
        <p:spPr>
          <a:xfrm>
            <a:off x="2015355" y="2638004"/>
            <a:ext cx="973408" cy="973408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chemeClr val="bg1"/>
              </a:solidFill>
            </a:endParaRPr>
          </a:p>
        </p:txBody>
      </p:sp>
      <p:pic>
        <p:nvPicPr>
          <p:cNvPr id="32" name="Рисунок 16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164467" y="2784433"/>
            <a:ext cx="670988" cy="636067"/>
          </a:xfrm>
          <a:prstGeom prst="rect">
            <a:avLst/>
          </a:prstGeom>
        </p:spPr>
      </p:pic>
      <p:sp>
        <p:nvSpPr>
          <p:cNvPr id="33" name="Овал 15"/>
          <p:cNvSpPr/>
          <p:nvPr/>
        </p:nvSpPr>
        <p:spPr>
          <a:xfrm>
            <a:off x="3386901" y="3734914"/>
            <a:ext cx="973408" cy="973408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chemeClr val="bg1"/>
              </a:solidFill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571041" y="3895893"/>
            <a:ext cx="607667" cy="645409"/>
          </a:xfrm>
          <a:prstGeom prst="rect">
            <a:avLst/>
          </a:prstGeom>
        </p:spPr>
      </p:pic>
      <p:sp>
        <p:nvSpPr>
          <p:cNvPr id="38" name="Овал 14"/>
          <p:cNvSpPr/>
          <p:nvPr/>
        </p:nvSpPr>
        <p:spPr>
          <a:xfrm>
            <a:off x="4664973" y="4916494"/>
            <a:ext cx="973408" cy="973408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chemeClr val="bg1"/>
              </a:solidFill>
            </a:endParaRPr>
          </a:p>
        </p:txBody>
      </p:sp>
      <p:pic>
        <p:nvPicPr>
          <p:cNvPr id="39" name="Рисунок 2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856692" y="5093670"/>
            <a:ext cx="616713" cy="55853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1734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6201860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183870" name="think-cell Slide" r:id="rId5" imgW="360" imgH="360" progId="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484884" y="6155703"/>
            <a:ext cx="4694549" cy="63159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5" name="Заголовок 3"/>
          <p:cNvSpPr>
            <a:spLocks noGrp="1"/>
          </p:cNvSpPr>
          <p:nvPr>
            <p:ph type="title"/>
          </p:nvPr>
        </p:nvSpPr>
        <p:spPr>
          <a:xfrm>
            <a:off x="1000356" y="242186"/>
            <a:ext cx="11519999" cy="648642"/>
          </a:xfrm>
        </p:spPr>
        <p:txBody>
          <a:bodyPr/>
          <a:lstStyle/>
          <a:p>
            <a:r>
              <a:rPr lang="ru-RU" sz="2400" dirty="0" smtClean="0">
                <a:latin typeface="+mn-lt"/>
              </a:rPr>
              <a:t>ОЖИДАЙТЕ ВКЛЮЧЕНИЯ ЛИНИЙ В ФПУ</a:t>
            </a:r>
            <a:endParaRPr lang="ru-RU" sz="2400" dirty="0">
              <a:latin typeface="+mn-lt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4062"/>
          <a:stretch/>
        </p:blipFill>
        <p:spPr>
          <a:xfrm>
            <a:off x="7315201" y="14580"/>
            <a:ext cx="4873659" cy="6852849"/>
          </a:xfrm>
          <a:prstGeom prst="rect">
            <a:avLst/>
          </a:prstGeom>
        </p:spPr>
      </p:pic>
      <p:sp>
        <p:nvSpPr>
          <p:cNvPr id="17" name="Заголовок 3"/>
          <p:cNvSpPr txBox="1">
            <a:spLocks/>
          </p:cNvSpPr>
          <p:nvPr/>
        </p:nvSpPr>
        <p:spPr>
          <a:xfrm>
            <a:off x="569844" y="3081266"/>
            <a:ext cx="5814031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ru-RU" sz="1600" dirty="0" smtClean="0">
                <a:latin typeface="+mn-lt"/>
              </a:rPr>
              <a:t>ПЕРЕХОД С ЛИНИИ НА ЛИНИЮ – </a:t>
            </a:r>
            <a:br>
              <a:rPr lang="ru-RU" sz="1600" dirty="0" smtClean="0">
                <a:latin typeface="+mn-lt"/>
              </a:rPr>
            </a:br>
            <a:r>
              <a:rPr lang="ru-RU" sz="1600" dirty="0" smtClean="0">
                <a:latin typeface="+mn-lt"/>
              </a:rPr>
              <a:t>САМЫЙ </a:t>
            </a:r>
            <a:r>
              <a:rPr lang="ru-RU" sz="1600" dirty="0" smtClean="0">
                <a:solidFill>
                  <a:srgbClr val="FC0652"/>
                </a:solidFill>
                <a:latin typeface="+mn-lt"/>
              </a:rPr>
              <a:t>НЕЖЕЛАТЕЛЬНЫЙ СЦЕНАРИЙ</a:t>
            </a:r>
            <a:endParaRPr lang="ru-RU" sz="1600" dirty="0">
              <a:solidFill>
                <a:srgbClr val="FC0652"/>
              </a:solidFill>
              <a:latin typeface="+mn-lt"/>
            </a:endParaRPr>
          </a:p>
        </p:txBody>
      </p:sp>
      <p:sp>
        <p:nvSpPr>
          <p:cNvPr id="20" name="Текст 1"/>
          <p:cNvSpPr txBox="1">
            <a:spLocks/>
          </p:cNvSpPr>
          <p:nvPr/>
        </p:nvSpPr>
        <p:spPr>
          <a:xfrm>
            <a:off x="569852" y="4111826"/>
            <a:ext cx="7049415" cy="792088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>
                <a:latin typeface="+mn-lt"/>
              </a:rPr>
              <a:t>Даже наличие в авторском коллективе одной и той же </a:t>
            </a:r>
            <a:r>
              <a:rPr lang="ru-RU" sz="1600" b="1" dirty="0">
                <a:solidFill>
                  <a:srgbClr val="2D3494"/>
                </a:solidFill>
                <a:latin typeface="+mn-lt"/>
              </a:rPr>
              <a:t>фамилии автора не гарантирует легкого перехода</a:t>
            </a:r>
          </a:p>
        </p:txBody>
      </p:sp>
      <p:sp>
        <p:nvSpPr>
          <p:cNvPr id="21" name="Текст 1"/>
          <p:cNvSpPr txBox="1">
            <a:spLocks/>
          </p:cNvSpPr>
          <p:nvPr/>
        </p:nvSpPr>
        <p:spPr>
          <a:xfrm>
            <a:off x="569852" y="4867538"/>
            <a:ext cx="7049415" cy="792088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>
                <a:latin typeface="+mn-lt"/>
              </a:rPr>
              <a:t>Необходимость закупать новые линии УМК, когда существующие еще не </a:t>
            </a:r>
            <a:r>
              <a:rPr lang="ru-RU" sz="1600" dirty="0" smtClean="0">
                <a:latin typeface="+mn-lt"/>
              </a:rPr>
              <a:t>устарели, является </a:t>
            </a:r>
            <a:r>
              <a:rPr lang="ru-RU" sz="1600" b="1" dirty="0" smtClean="0">
                <a:solidFill>
                  <a:srgbClr val="2D3494"/>
                </a:solidFill>
                <a:latin typeface="+mn-lt"/>
              </a:rPr>
              <a:t>неэффективным использованием </a:t>
            </a:r>
            <a:r>
              <a:rPr lang="ru-RU" sz="1600" b="1" dirty="0">
                <a:solidFill>
                  <a:srgbClr val="2D3494"/>
                </a:solidFill>
                <a:latin typeface="+mn-lt"/>
              </a:rPr>
              <a:t>бюджетных средств</a:t>
            </a:r>
          </a:p>
        </p:txBody>
      </p:sp>
      <p:sp>
        <p:nvSpPr>
          <p:cNvPr id="24" name="Овал 23"/>
          <p:cNvSpPr/>
          <p:nvPr/>
        </p:nvSpPr>
        <p:spPr>
          <a:xfrm>
            <a:off x="238553" y="145834"/>
            <a:ext cx="575091" cy="583086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chemeClr val="bg1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25775" y="177034"/>
            <a:ext cx="400644" cy="467418"/>
          </a:xfrm>
          <a:prstGeom prst="rect">
            <a:avLst/>
          </a:prstGeom>
        </p:spPr>
      </p:pic>
      <p:sp>
        <p:nvSpPr>
          <p:cNvPr id="26" name="Текст 1"/>
          <p:cNvSpPr>
            <a:spLocks noGrp="1"/>
          </p:cNvSpPr>
          <p:nvPr>
            <p:ph type="body" sz="quarter" idx="12"/>
          </p:nvPr>
        </p:nvSpPr>
        <p:spPr>
          <a:xfrm>
            <a:off x="569847" y="1741177"/>
            <a:ext cx="6675785" cy="108012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ru-RU" sz="1600" b="1" dirty="0">
                <a:solidFill>
                  <a:srgbClr val="2D3494"/>
                </a:solidFill>
                <a:latin typeface="+mn-lt"/>
              </a:rPr>
              <a:t>Любой переход </a:t>
            </a:r>
            <a:r>
              <a:rPr lang="ru-RU" sz="1600" dirty="0">
                <a:latin typeface="+mn-lt"/>
              </a:rPr>
              <a:t>посередине линии </a:t>
            </a:r>
            <a:r>
              <a:rPr lang="ru-RU" sz="1600" b="1" dirty="0">
                <a:solidFill>
                  <a:srgbClr val="2D3494"/>
                </a:solidFill>
                <a:latin typeface="+mn-lt"/>
              </a:rPr>
              <a:t>тяжёл</a:t>
            </a:r>
            <a:r>
              <a:rPr lang="ru-RU" sz="1600" dirty="0">
                <a:latin typeface="+mn-lt"/>
              </a:rPr>
              <a:t>. Он вызывает большое количество сложностей и снижает образовательные результаты учеников, </a:t>
            </a:r>
          </a:p>
          <a:p>
            <a:pPr>
              <a:spcBef>
                <a:spcPts val="0"/>
              </a:spcBef>
            </a:pPr>
            <a:r>
              <a:rPr lang="ru-RU" sz="1600" dirty="0" smtClean="0">
                <a:latin typeface="+mn-lt"/>
              </a:rPr>
              <a:t>что особенно важно в 9-х классах</a:t>
            </a:r>
            <a:endParaRPr lang="ru-RU" sz="1600" dirty="0"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31108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39868297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58087" name="think-cell Slide" r:id="rId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29328" y="4281853"/>
            <a:ext cx="5740239" cy="2232000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27552" y="1565836"/>
            <a:ext cx="5740239" cy="2588906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03599" y="1601349"/>
            <a:ext cx="5388132" cy="2400571"/>
          </a:xfrm>
          <a:ln>
            <a:noFill/>
          </a:ln>
        </p:spPr>
        <p:txBody>
          <a:bodyPr/>
          <a:lstStyle/>
          <a:p>
            <a:r>
              <a:rPr lang="ru-RU" b="1" dirty="0">
                <a:latin typeface="+mn-lt"/>
              </a:rPr>
              <a:t>Статья </a:t>
            </a:r>
            <a:r>
              <a:rPr lang="ru-RU" b="1" dirty="0" smtClean="0">
                <a:latin typeface="+mn-lt"/>
              </a:rPr>
              <a:t>18, пункт 4 Федерального Закона </a:t>
            </a:r>
            <a:r>
              <a:rPr lang="ru-RU" b="1" dirty="0">
                <a:latin typeface="+mn-lt"/>
              </a:rPr>
              <a:t>«Об образовании в Российской Федерации» №</a:t>
            </a:r>
            <a:r>
              <a:rPr lang="en-US" b="1" dirty="0">
                <a:latin typeface="+mn-lt"/>
              </a:rPr>
              <a:t>273-</a:t>
            </a:r>
            <a:r>
              <a:rPr lang="ru-RU" b="1" dirty="0">
                <a:latin typeface="+mn-lt"/>
              </a:rPr>
              <a:t>ФЗ:</a:t>
            </a:r>
          </a:p>
          <a:p>
            <a:r>
              <a:rPr lang="ru-RU" b="1" i="1" dirty="0" smtClean="0">
                <a:solidFill>
                  <a:srgbClr val="2D3494"/>
                </a:solidFill>
                <a:latin typeface="+mn-lt"/>
              </a:rPr>
              <a:t>Организации</a:t>
            </a:r>
            <a:r>
              <a:rPr lang="ru-RU" i="1" dirty="0">
                <a:latin typeface="+mn-lt"/>
              </a:rPr>
              <a:t>, осуществляющие образовательную </a:t>
            </a:r>
            <a:r>
              <a:rPr lang="ru-RU" i="1" dirty="0" smtClean="0">
                <a:latin typeface="+mn-lt"/>
              </a:rPr>
              <a:t>деятельность… </a:t>
            </a:r>
            <a:r>
              <a:rPr lang="ru-RU" b="1" i="1" dirty="0">
                <a:solidFill>
                  <a:srgbClr val="2D3494"/>
                </a:solidFill>
                <a:latin typeface="+mn-lt"/>
              </a:rPr>
              <a:t>для использования </a:t>
            </a:r>
            <a:r>
              <a:rPr lang="ru-RU" i="1" dirty="0">
                <a:latin typeface="+mn-lt"/>
              </a:rPr>
              <a:t>при реализации указанных образовательных программ </a:t>
            </a:r>
            <a:r>
              <a:rPr lang="ru-RU" b="1" i="1" dirty="0">
                <a:solidFill>
                  <a:srgbClr val="2D3494"/>
                </a:solidFill>
                <a:latin typeface="+mn-lt"/>
              </a:rPr>
              <a:t>выбирают</a:t>
            </a:r>
            <a:r>
              <a:rPr lang="ru-RU" i="1" dirty="0">
                <a:latin typeface="+mn-lt"/>
              </a:rPr>
              <a:t>:</a:t>
            </a:r>
          </a:p>
          <a:p>
            <a:pPr marL="628650" indent="-342900">
              <a:buFont typeface="+mj-lt"/>
              <a:buAutoNum type="arabicParenR"/>
            </a:pPr>
            <a:r>
              <a:rPr lang="ru-RU" i="1" dirty="0">
                <a:latin typeface="+mn-lt"/>
              </a:rPr>
              <a:t>учебники из числа входящих в федеральный перечень </a:t>
            </a:r>
            <a:r>
              <a:rPr lang="ru-RU" i="1" dirty="0" smtClean="0">
                <a:latin typeface="+mn-lt"/>
              </a:rPr>
              <a:t>учебников… ;</a:t>
            </a:r>
            <a:endParaRPr lang="ru-RU" i="1" dirty="0">
              <a:latin typeface="+mn-lt"/>
            </a:endParaRPr>
          </a:p>
          <a:p>
            <a:pPr marL="628650" indent="-342900">
              <a:buFont typeface="+mj-lt"/>
              <a:buAutoNum type="arabicParenR"/>
            </a:pPr>
            <a:r>
              <a:rPr lang="ru-RU" b="1" i="1" dirty="0">
                <a:solidFill>
                  <a:srgbClr val="2D3494"/>
                </a:solidFill>
                <a:latin typeface="+mn-lt"/>
              </a:rPr>
              <a:t>учебные пособия</a:t>
            </a:r>
            <a:r>
              <a:rPr lang="ru-RU" i="1" dirty="0">
                <a:latin typeface="+mn-lt"/>
              </a:rPr>
              <a:t>, выпущенные организациями, входящими в перечень организаций, осуществляющих выпуск учебных </a:t>
            </a:r>
            <a:r>
              <a:rPr lang="ru-RU" i="1" dirty="0" smtClean="0">
                <a:latin typeface="+mn-lt"/>
              </a:rPr>
              <a:t>пособий…</a:t>
            </a:r>
            <a:endParaRPr lang="ru-RU" i="1" dirty="0">
              <a:latin typeface="+mn-lt"/>
            </a:endParaRPr>
          </a:p>
        </p:txBody>
      </p:sp>
      <p:sp>
        <p:nvSpPr>
          <p:cNvPr id="18" name="Freeform 48"/>
          <p:cNvSpPr>
            <a:spLocks/>
          </p:cNvSpPr>
          <p:nvPr/>
        </p:nvSpPr>
        <p:spPr bwMode="auto">
          <a:xfrm rot="16415696" flipV="1">
            <a:off x="5730484" y="229292"/>
            <a:ext cx="460707" cy="2254043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>
              <a:solidFill>
                <a:srgbClr val="181818"/>
              </a:solidFill>
            </a:endParaRPr>
          </a:p>
        </p:txBody>
      </p:sp>
      <p:sp>
        <p:nvSpPr>
          <p:cNvPr id="19" name="Овал 12"/>
          <p:cNvSpPr/>
          <p:nvPr/>
        </p:nvSpPr>
        <p:spPr>
          <a:xfrm>
            <a:off x="227547" y="144392"/>
            <a:ext cx="599305" cy="59930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rgbClr val="FFFFFF"/>
              </a:solidFill>
            </a:endParaRPr>
          </a:p>
        </p:txBody>
      </p:sp>
      <p:pic>
        <p:nvPicPr>
          <p:cNvPr id="20" name="Рисунок 1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20052" y="236414"/>
            <a:ext cx="445307" cy="42213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6168077" y="1656883"/>
            <a:ext cx="206159" cy="2038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22" name="Title 2"/>
          <p:cNvSpPr txBox="1">
            <a:spLocks/>
          </p:cNvSpPr>
          <p:nvPr/>
        </p:nvSpPr>
        <p:spPr>
          <a:xfrm>
            <a:off x="919360" y="31763"/>
            <a:ext cx="10174923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Calibri"/>
              </a:rPr>
              <a:t>ВСЕМ ИЗВЕСТНО, ЧТО ЗАКОН </a:t>
            </a:r>
            <a:r>
              <a:rPr lang="ru-RU" sz="2400" dirty="0">
                <a:latin typeface="Calibri"/>
              </a:rPr>
              <a:t>ПОЗВОЛЯЕТ </a:t>
            </a:r>
            <a:r>
              <a:rPr lang="ru-RU" sz="2400" dirty="0" smtClean="0">
                <a:solidFill>
                  <a:srgbClr val="EB2049"/>
                </a:solidFill>
                <a:latin typeface="Calibri"/>
              </a:rPr>
              <a:t>ИСПОЛЬЗОВАТЬ </a:t>
            </a:r>
            <a:r>
              <a:rPr lang="ru-RU" sz="2400" dirty="0">
                <a:solidFill>
                  <a:srgbClr val="EB2049"/>
                </a:solidFill>
                <a:latin typeface="Calibri"/>
              </a:rPr>
              <a:t>УЧЕБНЫЕ ПОСОБИЯ</a:t>
            </a:r>
            <a:r>
              <a:rPr lang="ru-RU" sz="2400" dirty="0">
                <a:latin typeface="Calibri"/>
              </a:rPr>
              <a:t> </a:t>
            </a:r>
            <a:r>
              <a:rPr lang="ru-RU" sz="2400" dirty="0" smtClean="0">
                <a:latin typeface="Calibri"/>
              </a:rPr>
              <a:t>В ОБРАЗОВАТЕЛЬНОМ ПРОЦЕССЕ</a:t>
            </a:r>
            <a:endParaRPr lang="ru-RU" sz="2400" dirty="0">
              <a:latin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45312" y="4353586"/>
            <a:ext cx="5619167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/>
            <a:r>
              <a:rPr lang="ru-RU" sz="1400" b="1" dirty="0" smtClean="0">
                <a:solidFill>
                  <a:srgbClr val="000000"/>
                </a:solidFill>
              </a:rPr>
              <a:t>ГОСТ 7-60.2003, раздел </a:t>
            </a:r>
            <a:r>
              <a:rPr lang="ru-RU" sz="1400" b="1" dirty="0">
                <a:solidFill>
                  <a:srgbClr val="181818"/>
                </a:solidFill>
              </a:rPr>
              <a:t>3.2.4.3.4. </a:t>
            </a:r>
            <a:r>
              <a:rPr lang="ru-RU" sz="1400" b="1" dirty="0" smtClean="0">
                <a:solidFill>
                  <a:srgbClr val="181818"/>
                </a:solidFill>
              </a:rPr>
              <a:t>Учебные издания</a:t>
            </a:r>
            <a:r>
              <a:rPr lang="ru-RU" sz="1400" b="1" dirty="0" smtClean="0">
                <a:solidFill>
                  <a:srgbClr val="000000"/>
                </a:solidFill>
              </a:rPr>
              <a:t>:</a:t>
            </a:r>
          </a:p>
          <a:p>
            <a:pPr marL="177800">
              <a:spcBef>
                <a:spcPts val="600"/>
              </a:spcBef>
            </a:pPr>
            <a:r>
              <a:rPr lang="ru-RU" sz="1400" b="1" i="1" dirty="0" smtClean="0">
                <a:solidFill>
                  <a:srgbClr val="2D3494"/>
                </a:solidFill>
              </a:rPr>
              <a:t>Учебник: </a:t>
            </a:r>
            <a:r>
              <a:rPr lang="ru-RU" sz="1400" i="1" dirty="0" smtClean="0">
                <a:solidFill>
                  <a:srgbClr val="000000"/>
                </a:solidFill>
              </a:rPr>
              <a:t>Учебное </a:t>
            </a:r>
            <a:r>
              <a:rPr lang="ru-RU" sz="1400" i="1" dirty="0">
                <a:solidFill>
                  <a:srgbClr val="000000"/>
                </a:solidFill>
              </a:rPr>
              <a:t>издание, содержащее систематическое изложение учебной дисциплины, ее раздела, части, соответствующее учебной программе, и официально утвержденное в качестве данного вида </a:t>
            </a:r>
            <a:r>
              <a:rPr lang="ru-RU" sz="1400" i="1" dirty="0" smtClean="0">
                <a:solidFill>
                  <a:srgbClr val="000000"/>
                </a:solidFill>
              </a:rPr>
              <a:t>издания.</a:t>
            </a:r>
          </a:p>
          <a:p>
            <a:pPr marL="177800"/>
            <a:endParaRPr lang="ru-RU" sz="1400" i="1" dirty="0" smtClean="0">
              <a:solidFill>
                <a:srgbClr val="000000"/>
              </a:solidFill>
            </a:endParaRPr>
          </a:p>
          <a:p>
            <a:pPr marL="177800"/>
            <a:r>
              <a:rPr lang="ru-RU" sz="1400" b="1" i="1" dirty="0">
                <a:solidFill>
                  <a:srgbClr val="2D3494"/>
                </a:solidFill>
              </a:rPr>
              <a:t>Учебное пособие:</a:t>
            </a:r>
            <a:r>
              <a:rPr lang="ru-RU" sz="1400" b="1" i="1" dirty="0">
                <a:solidFill>
                  <a:srgbClr val="181818"/>
                </a:solidFill>
              </a:rPr>
              <a:t> </a:t>
            </a:r>
            <a:r>
              <a:rPr lang="ru-RU" sz="1400" i="1" dirty="0">
                <a:solidFill>
                  <a:srgbClr val="181818"/>
                </a:solidFill>
              </a:rPr>
              <a:t>Учебное издание, дополняющее или </a:t>
            </a:r>
            <a:r>
              <a:rPr lang="ru-RU" sz="1400" i="1" dirty="0" smtClean="0">
                <a:solidFill>
                  <a:srgbClr val="181818"/>
                </a:solidFill>
              </a:rPr>
              <a:t>               </a:t>
            </a:r>
            <a:r>
              <a:rPr lang="ru-RU" sz="1400" b="1" i="1" dirty="0" smtClean="0">
                <a:solidFill>
                  <a:srgbClr val="2D3494"/>
                </a:solidFill>
              </a:rPr>
              <a:t>заменяющее </a:t>
            </a:r>
            <a:r>
              <a:rPr lang="ru-RU" sz="1400" b="1" i="1" dirty="0">
                <a:solidFill>
                  <a:srgbClr val="2D3494"/>
                </a:solidFill>
              </a:rPr>
              <a:t>частично или полностью учебник</a:t>
            </a:r>
            <a:r>
              <a:rPr lang="ru-RU" sz="1400" i="1" dirty="0">
                <a:solidFill>
                  <a:srgbClr val="181818"/>
                </a:solidFill>
              </a:rPr>
              <a:t>, официально утвержденное в качестве данного вида издания.</a:t>
            </a:r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6156995" y="1557185"/>
            <a:ext cx="5158097" cy="4708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342900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Статья 18. Печатные и электронные образовательные и информационные ресурсы</a:t>
            </a:r>
            <a:endParaRPr lang="ru-RU" sz="800" dirty="0" smtClean="0">
              <a:solidFill>
                <a:srgbClr val="181818"/>
              </a:solidFill>
              <a:latin typeface="Arial" pitchFamily="34" charset="0"/>
              <a:cs typeface="Arial" pitchFamily="34" charset="0"/>
            </a:endParaRPr>
          </a:p>
          <a:p>
            <a:pPr indent="3429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1. В организациях, осуществляющих образовательную деятельность, в целях обеспечения реализации образовательных программ формируются библиотеки, в том числе цифровые (электронные) библиотеки, обеспечивающие доступ к профессиональным базам данных, информационным справочным и поисковым системам, а также иным информационным ресурсам. </a:t>
            </a:r>
            <a:r>
              <a:rPr lang="ru-RU" sz="800" u="sng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Библиотечный фонд должен быть укомплектован печатными и (или) электронными учебными изданиями (включая учебники и учебные пособия)</a:t>
            </a: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, методическими и периодическими изданиями по всем входящим в реализуемые основные образовательные программы учебным предметам, курсам, дисциплинам (модулям).</a:t>
            </a:r>
            <a:endParaRPr lang="ru-RU" sz="800" dirty="0" smtClean="0">
              <a:solidFill>
                <a:srgbClr val="181818"/>
              </a:solidFill>
              <a:latin typeface="Arial" pitchFamily="34" charset="0"/>
              <a:cs typeface="Arial" pitchFamily="34" charset="0"/>
            </a:endParaRPr>
          </a:p>
          <a:p>
            <a:pPr indent="3429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2. Нормы обеспеченности образовательной деятельности учебными изданиями в расчете на одного обучающегося по основной образовательной программе устанавливаются соответствующими федеральными государственными образовательными </a:t>
            </a:r>
            <a:r>
              <a:rPr lang="ru-RU" sz="800" dirty="0" smtClean="0">
                <a:solidFill>
                  <a:srgbClr val="0000FF"/>
                </a:solidFill>
                <a:latin typeface="Arial" pitchFamily="34" charset="0"/>
                <a:ea typeface="Calibri" pitchFamily="34" charset="0"/>
                <a:cs typeface="Arial" pitchFamily="34" charset="0"/>
                <a:hlinkClick r:id="rId7"/>
              </a:rPr>
              <a:t>стандартами</a:t>
            </a: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.</a:t>
            </a:r>
            <a:endParaRPr lang="ru-RU" sz="800" dirty="0" smtClean="0">
              <a:solidFill>
                <a:srgbClr val="181818"/>
              </a:solidFill>
              <a:latin typeface="Arial" pitchFamily="34" charset="0"/>
              <a:cs typeface="Arial" pitchFamily="34" charset="0"/>
            </a:endParaRPr>
          </a:p>
          <a:p>
            <a:pPr indent="3429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181818"/>
                </a:solidFill>
                <a:ea typeface="Calibri" pitchFamily="34" charset="0"/>
                <a:cs typeface="Arial" pitchFamily="34" charset="0"/>
              </a:rPr>
              <a:t>…………………………………………………………………………………</a:t>
            </a:r>
            <a:endParaRPr lang="ru-RU" sz="800" dirty="0" smtClean="0">
              <a:solidFill>
                <a:srgbClr val="181818"/>
              </a:solidFill>
              <a:latin typeface="Arial" pitchFamily="34" charset="0"/>
              <a:cs typeface="Arial" pitchFamily="34" charset="0"/>
            </a:endParaRPr>
          </a:p>
          <a:p>
            <a:pPr indent="3429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4. Организации, осуществляющие образовательную деятельность по имеющим государственную аккредитацию образовательным программам начального общего, основного общего, среднего общего образования, для использования при реализации указанных образовательных программ </a:t>
            </a:r>
            <a:r>
              <a:rPr lang="ru-RU" sz="800" u="sng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выбирают</a:t>
            </a: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:</a:t>
            </a:r>
            <a:endParaRPr lang="ru-RU" sz="800" dirty="0" smtClean="0">
              <a:solidFill>
                <a:srgbClr val="181818"/>
              </a:solidFill>
              <a:latin typeface="Arial" pitchFamily="34" charset="0"/>
              <a:cs typeface="Arial" pitchFamily="34" charset="0"/>
            </a:endParaRPr>
          </a:p>
          <a:p>
            <a:pPr indent="3429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1) </a:t>
            </a:r>
            <a:r>
              <a:rPr lang="ru-RU" sz="800" u="sng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учебники из числа входящих в федеральный перечень учебников</a:t>
            </a: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, рекомендуемых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;</a:t>
            </a:r>
            <a:endParaRPr lang="ru-RU" sz="800" dirty="0" smtClean="0">
              <a:solidFill>
                <a:srgbClr val="181818"/>
              </a:solidFill>
              <a:latin typeface="Arial" pitchFamily="34" charset="0"/>
              <a:cs typeface="Arial" pitchFamily="34" charset="0"/>
            </a:endParaRPr>
          </a:p>
          <a:p>
            <a:pPr indent="3429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2) </a:t>
            </a:r>
            <a:r>
              <a:rPr lang="ru-RU" sz="800" u="sng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учебные пособия</a:t>
            </a: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, выпущенные организациями, входящими в перечень организаций, осуществляющих выпуск учебных пособий, которые допускаются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.</a:t>
            </a:r>
          </a:p>
          <a:p>
            <a:pPr indent="3429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cs typeface="Arial" pitchFamily="34" charset="0"/>
              </a:rPr>
              <a:t>………………….</a:t>
            </a:r>
          </a:p>
        </p:txBody>
      </p:sp>
    </p:spTree>
    <p:extLst>
      <p:ext uri="{BB962C8B-B14F-4D97-AF65-F5344CB8AC3E}">
        <p14:creationId xmlns="" xmlns:p14="http://schemas.microsoft.com/office/powerpoint/2010/main" val="243781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240689800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p:oleObj spid="_x0000_s559111" name="think-cell Slide" r:id="rId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65760" y="1935564"/>
            <a:ext cx="5740239" cy="3077612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5" name="Text Placeholder 1"/>
          <p:cNvSpPr txBox="1">
            <a:spLocks/>
          </p:cNvSpPr>
          <p:nvPr/>
        </p:nvSpPr>
        <p:spPr>
          <a:xfrm>
            <a:off x="556053" y="2099948"/>
            <a:ext cx="5359651" cy="2018220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solidFill>
                  <a:srgbClr val="181818"/>
                </a:solidFill>
                <a:latin typeface="Calibri"/>
              </a:rPr>
              <a:t>Статья </a:t>
            </a:r>
            <a:r>
              <a:rPr lang="ru-RU" sz="1600" b="1" dirty="0" smtClean="0">
                <a:solidFill>
                  <a:srgbClr val="181818"/>
                </a:solidFill>
                <a:latin typeface="Calibri"/>
              </a:rPr>
              <a:t>35, </a:t>
            </a:r>
            <a:r>
              <a:rPr lang="ru-RU" sz="1600" b="1" dirty="0">
                <a:solidFill>
                  <a:srgbClr val="181818">
                    <a:lumMod val="90000"/>
                    <a:lumOff val="10000"/>
                  </a:srgbClr>
                </a:solidFill>
                <a:latin typeface="Calibri"/>
              </a:rPr>
              <a:t>пункт </a:t>
            </a:r>
            <a:r>
              <a:rPr lang="ru-RU" sz="1600" b="1" dirty="0" smtClean="0">
                <a:solidFill>
                  <a:srgbClr val="181818">
                    <a:lumMod val="90000"/>
                    <a:lumOff val="10000"/>
                  </a:srgbClr>
                </a:solidFill>
                <a:latin typeface="Calibri"/>
              </a:rPr>
              <a:t>2</a:t>
            </a:r>
            <a:r>
              <a:rPr lang="ru-RU" sz="1600" b="1" dirty="0" smtClean="0">
                <a:solidFill>
                  <a:srgbClr val="181818"/>
                </a:solidFill>
                <a:latin typeface="Calibri"/>
              </a:rPr>
              <a:t> Федерального Закона </a:t>
            </a:r>
            <a:r>
              <a:rPr lang="ru-RU" sz="1600" b="1" dirty="0">
                <a:solidFill>
                  <a:srgbClr val="181818"/>
                </a:solidFill>
                <a:latin typeface="Calibri"/>
              </a:rPr>
              <a:t>«Об образовании в Российской Федерации» №</a:t>
            </a:r>
            <a:r>
              <a:rPr lang="en-US" sz="1600" b="1" dirty="0">
                <a:solidFill>
                  <a:srgbClr val="181818"/>
                </a:solidFill>
                <a:latin typeface="Calibri"/>
              </a:rPr>
              <a:t>273-</a:t>
            </a:r>
            <a:r>
              <a:rPr lang="ru-RU" sz="1600" b="1" dirty="0">
                <a:solidFill>
                  <a:srgbClr val="181818"/>
                </a:solidFill>
                <a:latin typeface="Calibri"/>
              </a:rPr>
              <a:t>ФЗ:</a:t>
            </a:r>
          </a:p>
          <a:p>
            <a:r>
              <a:rPr lang="ru-RU" sz="1600" b="1" i="1" dirty="0" smtClean="0">
                <a:solidFill>
                  <a:srgbClr val="2D3494"/>
                </a:solidFill>
                <a:latin typeface="Calibri"/>
              </a:rPr>
              <a:t>Обеспечение </a:t>
            </a:r>
            <a:r>
              <a:rPr lang="ru-RU" sz="1600" i="1" dirty="0">
                <a:solidFill>
                  <a:srgbClr val="181818">
                    <a:lumMod val="90000"/>
                    <a:lumOff val="10000"/>
                  </a:srgbClr>
                </a:solidFill>
                <a:latin typeface="Calibri"/>
              </a:rPr>
              <a:t>учебниками</a:t>
            </a:r>
            <a:r>
              <a:rPr lang="ru-RU" sz="1600" b="1" i="1" dirty="0">
                <a:solidFill>
                  <a:srgbClr val="2D3494"/>
                </a:solidFill>
                <a:latin typeface="Calibri"/>
              </a:rPr>
              <a:t> </a:t>
            </a:r>
            <a:r>
              <a:rPr lang="ru-RU" sz="1600" i="1" dirty="0">
                <a:solidFill>
                  <a:srgbClr val="181818">
                    <a:lumMod val="90000"/>
                    <a:lumOff val="10000"/>
                  </a:srgbClr>
                </a:solidFill>
                <a:latin typeface="Calibri"/>
              </a:rPr>
              <a:t>и</a:t>
            </a:r>
            <a:r>
              <a:rPr lang="ru-RU" sz="1600" b="1" i="1" dirty="0">
                <a:solidFill>
                  <a:srgbClr val="2D3494"/>
                </a:solidFill>
                <a:latin typeface="Calibri"/>
              </a:rPr>
              <a:t> учебными пособиями</a:t>
            </a:r>
            <a:r>
              <a:rPr lang="ru-RU" sz="1600" i="1" dirty="0">
                <a:solidFill>
                  <a:srgbClr val="2D3494"/>
                </a:solidFill>
                <a:latin typeface="Calibri"/>
              </a:rPr>
              <a:t>… </a:t>
            </a:r>
            <a:r>
              <a:rPr lang="ru-RU" sz="1600" b="1" i="1" dirty="0">
                <a:solidFill>
                  <a:srgbClr val="2D3494"/>
                </a:solidFill>
                <a:latin typeface="Calibri"/>
              </a:rPr>
              <a:t>осуществляется за счет бюджетных ассигнований</a:t>
            </a:r>
            <a:r>
              <a:rPr lang="ru-RU" sz="1600" i="1" dirty="0">
                <a:solidFill>
                  <a:srgbClr val="181818">
                    <a:lumMod val="90000"/>
                    <a:lumOff val="10000"/>
                  </a:srgbClr>
                </a:solidFill>
                <a:latin typeface="Calibri"/>
              </a:rPr>
              <a:t> федерального бюджета, бюджетов субъектов Российской Федерации и местных </a:t>
            </a:r>
            <a:r>
              <a:rPr lang="ru-RU" sz="1600" i="1" dirty="0" smtClean="0">
                <a:solidFill>
                  <a:srgbClr val="181818">
                    <a:lumMod val="90000"/>
                    <a:lumOff val="10000"/>
                  </a:srgbClr>
                </a:solidFill>
                <a:latin typeface="Calibri"/>
              </a:rPr>
              <a:t>бюджетов.</a:t>
            </a:r>
            <a:endParaRPr lang="ru-RU" sz="1600" i="1" dirty="0">
              <a:solidFill>
                <a:srgbClr val="181818">
                  <a:lumMod val="90000"/>
                  <a:lumOff val="10000"/>
                </a:srgbClr>
              </a:solidFill>
              <a:latin typeface="Calibri"/>
            </a:endParaRPr>
          </a:p>
        </p:txBody>
      </p:sp>
      <p:sp>
        <p:nvSpPr>
          <p:cNvPr id="18" name="Freeform 48"/>
          <p:cNvSpPr>
            <a:spLocks/>
          </p:cNvSpPr>
          <p:nvPr/>
        </p:nvSpPr>
        <p:spPr bwMode="auto">
          <a:xfrm rot="5751609" flipH="1">
            <a:off x="5668743" y="485739"/>
            <a:ext cx="684355" cy="2254043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>
              <a:solidFill>
                <a:srgbClr val="181818"/>
              </a:solidFill>
            </a:endParaRPr>
          </a:p>
        </p:txBody>
      </p:sp>
      <p:sp>
        <p:nvSpPr>
          <p:cNvPr id="14" name="Овал 12"/>
          <p:cNvSpPr/>
          <p:nvPr/>
        </p:nvSpPr>
        <p:spPr>
          <a:xfrm>
            <a:off x="227547" y="144392"/>
            <a:ext cx="599305" cy="59930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rgbClr val="FFFFFF"/>
              </a:solidFill>
            </a:endParaRPr>
          </a:p>
        </p:txBody>
      </p:sp>
      <p:pic>
        <p:nvPicPr>
          <p:cNvPr id="20" name="Рисунок 1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20052" y="236414"/>
            <a:ext cx="445307" cy="422130"/>
          </a:xfrm>
          <a:prstGeom prst="rect">
            <a:avLst/>
          </a:prstGeom>
        </p:spPr>
      </p:pic>
      <p:sp>
        <p:nvSpPr>
          <p:cNvPr id="26" name="Title 2"/>
          <p:cNvSpPr txBox="1">
            <a:spLocks/>
          </p:cNvSpPr>
          <p:nvPr/>
        </p:nvSpPr>
        <p:spPr>
          <a:xfrm>
            <a:off x="919360" y="31763"/>
            <a:ext cx="10174923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Calibri"/>
              </a:rPr>
              <a:t>НО МАЛО КТО ЗНАЕТ, ЧТО ЗАКОН ТАКЖЕ РАЗРЕШАЕТ </a:t>
            </a:r>
            <a:r>
              <a:rPr lang="ru-RU" sz="2400" dirty="0">
                <a:latin typeface="Calibri"/>
              </a:rPr>
              <a:t>ЗАКУПАТЬ УЧЕБНЫЕ ПОСОБИЯ </a:t>
            </a:r>
            <a:r>
              <a:rPr lang="ru-RU" sz="2400" dirty="0" smtClean="0">
                <a:solidFill>
                  <a:srgbClr val="EB2049"/>
                </a:solidFill>
                <a:latin typeface="Calibri"/>
              </a:rPr>
              <a:t>ЗА </a:t>
            </a:r>
            <a:r>
              <a:rPr lang="ru-RU" sz="2400" dirty="0">
                <a:solidFill>
                  <a:srgbClr val="EB2049"/>
                </a:solidFill>
                <a:latin typeface="Calibri"/>
              </a:rPr>
              <a:t>БЮДЖЕТНЫЕ </a:t>
            </a:r>
            <a:r>
              <a:rPr lang="ru-RU" sz="2400" dirty="0" smtClean="0">
                <a:solidFill>
                  <a:srgbClr val="EB2049"/>
                </a:solidFill>
                <a:latin typeface="Calibri"/>
              </a:rPr>
              <a:t>СРЕДСТВА</a:t>
            </a:r>
            <a:endParaRPr lang="ru-RU" sz="2400" dirty="0">
              <a:solidFill>
                <a:srgbClr val="EB2049"/>
              </a:solidFill>
              <a:latin typeface="Calibri"/>
            </a:endParaRP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6392090" y="1856458"/>
            <a:ext cx="5399315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Статья 35. Пользование учебниками, учебными пособиями, средствами обучения и воспитания</a:t>
            </a:r>
            <a:endParaRPr lang="ru-RU" sz="800" dirty="0" smtClean="0">
              <a:solidFill>
                <a:srgbClr val="181818"/>
              </a:solidFill>
              <a:latin typeface="Arial" pitchFamily="34" charset="0"/>
              <a:cs typeface="Arial" pitchFamily="34" charset="0"/>
            </a:endParaRPr>
          </a:p>
          <a:p>
            <a:pPr indent="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1. Обучающимся, осваивающим основные образовательные программы </a:t>
            </a:r>
            <a:r>
              <a:rPr lang="ru-RU" sz="800" u="sng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за счет бюджетных ассигнований</a:t>
            </a: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 федерального бюджета, бюджетов субъектов Российской Федерации и местных бюджетов в пределах федеральных государственных образовательных </a:t>
            </a:r>
            <a:r>
              <a:rPr lang="ru-RU" sz="800" dirty="0" smtClean="0">
                <a:solidFill>
                  <a:srgbClr val="0000FF"/>
                </a:solidFill>
                <a:latin typeface="Arial" pitchFamily="34" charset="0"/>
                <a:ea typeface="Calibri" pitchFamily="34" charset="0"/>
                <a:cs typeface="Arial" pitchFamily="34" charset="0"/>
                <a:hlinkClick r:id="rId7"/>
              </a:rPr>
              <a:t>стандартов</a:t>
            </a: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, образовательных стандартов, организациями, осуществляющими образовательную деятельность, </a:t>
            </a:r>
            <a:r>
              <a:rPr lang="ru-RU" sz="800" dirty="0" smtClean="0">
                <a:solidFill>
                  <a:srgbClr val="0000FF"/>
                </a:solidFill>
                <a:latin typeface="Arial" pitchFamily="34" charset="0"/>
                <a:ea typeface="Calibri" pitchFamily="34" charset="0"/>
                <a:cs typeface="Arial" pitchFamily="34" charset="0"/>
                <a:hlinkClick r:id="rId8"/>
              </a:rPr>
              <a:t>бесплатно предоставляются</a:t>
            </a: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 в пользование на время получения образования </a:t>
            </a:r>
            <a:r>
              <a:rPr lang="ru-RU" sz="800" u="sng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учебники и учебные пособия</a:t>
            </a: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, а также учебно-методические материалы, </a:t>
            </a:r>
            <a:r>
              <a:rPr lang="ru-RU" sz="800" dirty="0" smtClean="0">
                <a:solidFill>
                  <a:srgbClr val="0000FF"/>
                </a:solidFill>
                <a:latin typeface="Arial" pitchFamily="34" charset="0"/>
                <a:ea typeface="Calibri" pitchFamily="34" charset="0"/>
                <a:cs typeface="Arial" pitchFamily="34" charset="0"/>
                <a:hlinkClick r:id="rId9"/>
              </a:rPr>
              <a:t>средства</a:t>
            </a: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 обучения и воспитания.</a:t>
            </a:r>
            <a:endParaRPr lang="ru-RU" sz="800" dirty="0" smtClean="0">
              <a:solidFill>
                <a:srgbClr val="181818"/>
              </a:solidFill>
              <a:latin typeface="Arial" pitchFamily="34" charset="0"/>
              <a:cs typeface="Arial" pitchFamily="34" charset="0"/>
            </a:endParaRPr>
          </a:p>
          <a:p>
            <a:pPr indent="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2. Обеспечение учебниками и учебными пособиями, а также учебно-методическими материалами, средствами обучения и воспитания организаций, осуществляющих образовательную деятельность по основным образовательным программам, в пределах федеральных государственных образовательных стандартов, образовательных стандартов осуществляется за счет бюджетных ассигнований федерального бюджета, бюджетов субъектов Российской Федерации и местных бюджетов.</a:t>
            </a:r>
            <a:endParaRPr lang="ru-RU" sz="800" dirty="0" smtClean="0">
              <a:solidFill>
                <a:srgbClr val="181818"/>
              </a:solidFill>
              <a:latin typeface="Arial" pitchFamily="34" charset="0"/>
              <a:cs typeface="Arial" pitchFamily="34" charset="0"/>
            </a:endParaRPr>
          </a:p>
          <a:p>
            <a:pPr indent="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181818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3. Пользование учебниками и учебными пособиями обучающимися, осваивающими учебные предметы, курсы, дисциплины (модули) за пределами федеральных государственных образовательных стандартов, образовательных стандартов и (или) получающими платные образовательные услуги, осуществляется в порядке, установленном организацией, осуществляющей образовательную деятельность.</a:t>
            </a:r>
            <a:endParaRPr lang="ru-RU" sz="800" dirty="0" smtClean="0">
              <a:solidFill>
                <a:srgbClr val="181818"/>
              </a:solidFill>
              <a:latin typeface="Arial" pitchFamily="34" charset="0"/>
              <a:cs typeface="Arial" pitchFamily="34" charset="0"/>
            </a:endParaRPr>
          </a:p>
          <a:p>
            <a:pPr indent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srgbClr val="181818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5760" y="5210123"/>
            <a:ext cx="11425645" cy="638732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400" b="1" dirty="0" smtClean="0">
                <a:solidFill>
                  <a:srgbClr val="EB2049"/>
                </a:solidFill>
              </a:rPr>
              <a:t>В соответствии с Приказом </a:t>
            </a:r>
            <a:r>
              <a:rPr lang="ru-RU" sz="1400" b="1" dirty="0" err="1">
                <a:solidFill>
                  <a:srgbClr val="EB2049"/>
                </a:solidFill>
              </a:rPr>
              <a:t>Минобрнауки</a:t>
            </a:r>
            <a:r>
              <a:rPr lang="ru-RU" sz="1400" b="1" dirty="0">
                <a:solidFill>
                  <a:srgbClr val="EB2049"/>
                </a:solidFill>
              </a:rPr>
              <a:t> России от 09.06.2016 </a:t>
            </a:r>
            <a:r>
              <a:rPr lang="ru-RU" sz="1400" b="1" dirty="0" err="1">
                <a:solidFill>
                  <a:srgbClr val="EB2049"/>
                </a:solidFill>
              </a:rPr>
              <a:t>N</a:t>
            </a:r>
            <a:r>
              <a:rPr lang="ru-RU" sz="1400" b="1" dirty="0">
                <a:solidFill>
                  <a:srgbClr val="EB2049"/>
                </a:solidFill>
              </a:rPr>
              <a:t> </a:t>
            </a:r>
            <a:r>
              <a:rPr lang="ru-RU" sz="1400" b="1" dirty="0" smtClean="0">
                <a:solidFill>
                  <a:srgbClr val="EB2049"/>
                </a:solidFill>
              </a:rPr>
              <a:t>699 «Дрофа», «</a:t>
            </a:r>
            <a:r>
              <a:rPr lang="ru-RU" sz="1400" b="1" dirty="0" err="1" smtClean="0">
                <a:solidFill>
                  <a:srgbClr val="EB2049"/>
                </a:solidFill>
              </a:rPr>
              <a:t>Вентана</a:t>
            </a:r>
            <a:r>
              <a:rPr lang="ru-RU" sz="1400" b="1" dirty="0" smtClean="0">
                <a:solidFill>
                  <a:srgbClr val="EB2049"/>
                </a:solidFill>
              </a:rPr>
              <a:t>-граф» и «</a:t>
            </a:r>
            <a:r>
              <a:rPr lang="ru-RU" sz="1400" b="1" dirty="0" err="1" smtClean="0">
                <a:solidFill>
                  <a:srgbClr val="EB2049"/>
                </a:solidFill>
              </a:rPr>
              <a:t>Астрель</a:t>
            </a:r>
            <a:r>
              <a:rPr lang="ru-RU" sz="1400" b="1" dirty="0" smtClean="0">
                <a:solidFill>
                  <a:srgbClr val="EB2049"/>
                </a:solidFill>
              </a:rPr>
              <a:t>» входят в перечень организаций, выпускающих учебные пособия, которые можно использовать в школе и закупать за бюджетные средства.    </a:t>
            </a:r>
          </a:p>
        </p:txBody>
      </p:sp>
    </p:spTree>
    <p:extLst>
      <p:ext uri="{BB962C8B-B14F-4D97-AF65-F5344CB8AC3E}">
        <p14:creationId xmlns="" xmlns:p14="http://schemas.microsoft.com/office/powerpoint/2010/main" val="3375608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P8.QYLTySJmjBsznOEp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c3tC5vRSCKOI_KW5_q7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HgZ_bRHO8Xuzi02yAy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HgZ_bRHO8Xuzi02yAy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14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31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презентации РУ 16х9 новый" id="{23823937-63CB-EF40-AF53-0F27116B0B55}" vid="{43665F57-CA4A-BB45-9AC4-07D45EBECBFB}"/>
    </a:ext>
  </a:extLst>
</a:theme>
</file>

<file path=ppt/theme/theme12.xml><?xml version="1.0" encoding="utf-8"?>
<a:theme xmlns:a="http://schemas.openxmlformats.org/drawingml/2006/main" name="2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16х9 новый" id="{23823937-63CB-EF40-AF53-0F27116B0B55}" vid="{43665F57-CA4A-BB45-9AC4-07D45EBECBFB}"/>
    </a:ext>
  </a:extLst>
</a:theme>
</file>

<file path=ppt/theme/theme13.xml><?xml version="1.0" encoding="utf-8"?>
<a:theme xmlns:a="http://schemas.openxmlformats.org/drawingml/2006/main" name="1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2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5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7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8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9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0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4_Шаблон презентации РУ 16х9 новый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1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12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13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19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0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2_Шаблон презентации 3х4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3х4 новый" id="{9E928931-84A4-2147-8070-04EDF1C670D9}" vid="{F66E0C81-5250-114B-8641-FBB1A553E183}"/>
    </a:ext>
  </a:extLst>
</a:theme>
</file>

<file path=ppt/theme/theme27.xml><?xml version="1.0" encoding="utf-8"?>
<a:theme xmlns:a="http://schemas.openxmlformats.org/drawingml/2006/main" name="28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16х9 новый" id="{23823937-63CB-EF40-AF53-0F27116B0B55}" vid="{43665F57-CA4A-BB45-9AC4-07D45EBECBFB}"/>
    </a:ext>
  </a:extLst>
</a:theme>
</file>

<file path=ppt/theme/theme28.xml><?xml version="1.0" encoding="utf-8"?>
<a:theme xmlns:a="http://schemas.openxmlformats.org/drawingml/2006/main" name="30_Шаблон презентации РУ 16х9 новый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16х9 новый" id="{23823937-63CB-EF40-AF53-0F27116B0B55}" vid="{43665F57-CA4A-BB45-9AC4-07D45EBECBFB}"/>
    </a:ext>
  </a:extLst>
</a:theme>
</file>

<file path=ppt/theme/theme2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6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7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6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18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3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15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79</TotalTime>
  <Words>3248</Words>
  <Application>Microsoft Office PowerPoint</Application>
  <PresentationFormat>Произвольный</PresentationFormat>
  <Paragraphs>804</Paragraphs>
  <Slides>58</Slides>
  <Notes>34</Notes>
  <HiddenSlides>0</HiddenSlides>
  <MMClips>0</MMClips>
  <ScaleCrop>false</ScaleCrop>
  <HeadingPairs>
    <vt:vector size="6" baseType="variant">
      <vt:variant>
        <vt:lpstr>Тема</vt:lpstr>
      </vt:variant>
      <vt:variant>
        <vt:i4>2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8</vt:i4>
      </vt:variant>
    </vt:vector>
  </HeadingPairs>
  <TitlesOfParts>
    <vt:vector size="87" baseType="lpstr">
      <vt:lpstr>Drofa</vt:lpstr>
      <vt:lpstr>4_Шаблон презентации РУ 16х9 новый</vt:lpstr>
      <vt:lpstr>16_Drofa</vt:lpstr>
      <vt:lpstr>17_Drofa</vt:lpstr>
      <vt:lpstr>4_Drofa</vt:lpstr>
      <vt:lpstr>6_Drofa</vt:lpstr>
      <vt:lpstr>18_Drofa</vt:lpstr>
      <vt:lpstr>3_Drofa</vt:lpstr>
      <vt:lpstr>15_Drofa</vt:lpstr>
      <vt:lpstr>14_Drofa</vt:lpstr>
      <vt:lpstr>31_Шаблон презентации РУ 16х9 новый</vt:lpstr>
      <vt:lpstr>2_Шаблон презентации РУ 16х9 новый</vt:lpstr>
      <vt:lpstr>1_Drofa</vt:lpstr>
      <vt:lpstr>2_Drofa</vt:lpstr>
      <vt:lpstr>5_Drofa</vt:lpstr>
      <vt:lpstr>7_Drofa</vt:lpstr>
      <vt:lpstr>8_Drofa</vt:lpstr>
      <vt:lpstr>9_Drofa</vt:lpstr>
      <vt:lpstr>10_Drofa</vt:lpstr>
      <vt:lpstr>11_Drofa</vt:lpstr>
      <vt:lpstr>12_Drofa</vt:lpstr>
      <vt:lpstr>13_Drofa</vt:lpstr>
      <vt:lpstr>19_Drofa</vt:lpstr>
      <vt:lpstr>20_Drofa</vt:lpstr>
      <vt:lpstr>1_Тема Office</vt:lpstr>
      <vt:lpstr>2_Шаблон презентации 3х4</vt:lpstr>
      <vt:lpstr>28_Шаблон презентации РУ 16х9 новый</vt:lpstr>
      <vt:lpstr>30_Шаблон презентации РУ 16х9 новый</vt:lpstr>
      <vt:lpstr>think-cell Slide</vt:lpstr>
      <vt:lpstr>«Содержание и методический аппарат УМК по биологии для достижения новых образовательных результатов»  </vt:lpstr>
      <vt:lpstr>Слайд 2</vt:lpstr>
      <vt:lpstr>Слайд 3</vt:lpstr>
      <vt:lpstr>ПЕРЕД УЧИТЕЛЕМ БИОЛОГИИ СТОЯТ 3 КЛЮЧЕВЫЕ ЗАДАЧИ</vt:lpstr>
      <vt:lpstr>В УСЛОВИЯХ ИСКЛЮЧЕНИЯ РЯДА ЛИНИЙ ИЗ ФПУ У УЧИТЕЛЕЙ ПОЯВЛИСЬ ДОПОЛНИТЕЛЬНЫЕ СЛОЖНОСТИ В РЕШЕНИИ КЛЮЧЕВЫХ ЗАДАЧ</vt:lpstr>
      <vt:lpstr>В СЛУЧАЕ, ЕСЛИ ВЫ РАБОТАЕТЕ ПО УМК ПАСЕЧНИКА ИЛИ УМК СОНИНА ИЗДАТЕЛЬСТВА «ДРОФА» , МЫ ПРЕДЛАГАЕМ ВАМ СЛЕДУЮЩИЙ АЛГОРИТМ ПРИНЯТИЯ РЕШЕНИЙ</vt:lpstr>
      <vt:lpstr>ОЖИДАЙТЕ ВКЛЮЧЕНИЯ ЛИНИЙ В ФПУ</vt:lpstr>
      <vt:lpstr>Слайд 8</vt:lpstr>
      <vt:lpstr>Слайд 9</vt:lpstr>
      <vt:lpstr>Учебники рекомендуемые  к использованию при реализации образовательной части основной образовательной программы</vt:lpstr>
      <vt:lpstr>ТЕКУЩИЙ ПОРТФЕЛЬ КОРПОРАЦИИ «РОССИЙСКИЙ УЧЕБНИК»  ПО БИОЛОГИИ, ДОСТУПНЫЙ ДЛЯ ЗАКУПКИ</vt:lpstr>
      <vt:lpstr>Слайд 12</vt:lpstr>
      <vt:lpstr>Слайд 13</vt:lpstr>
      <vt:lpstr>РЕКОМЕНДАЦИИ ПО ПЕРЕХОДУ  БИОЛОГИЯ</vt:lpstr>
      <vt:lpstr>РЕКОМЕНДАЦИИ ПО ПЕРЕХОДУ  БИОЛОГИЯ</vt:lpstr>
      <vt:lpstr>УМК корпорации «Российский учебник»</vt:lpstr>
      <vt:lpstr>Слайд 17</vt:lpstr>
      <vt:lpstr>      Целеполагание и конечный результат</vt:lpstr>
      <vt:lpstr>Слайд 19</vt:lpstr>
      <vt:lpstr>Слайд 20</vt:lpstr>
      <vt:lpstr>         Компетентностные задания</vt:lpstr>
      <vt:lpstr>        Компетентностные задания</vt:lpstr>
      <vt:lpstr>             Компетентностные задания</vt:lpstr>
      <vt:lpstr>       Компетентностные задания</vt:lpstr>
      <vt:lpstr>      Применение знаний в практической жизненной ситуации</vt:lpstr>
      <vt:lpstr>Линия УМК по биологии  для 5-9 классов (линейный курс) И.Н. Пономаревой,  Т.С. Суховой, В.М. Константинова и др.  (1.2.5.2.6.1-1.2.5.2.6.4)</vt:lpstr>
      <vt:lpstr>Слайд 27</vt:lpstr>
      <vt:lpstr>Линия УМК по биологии  для 5-9 классов (концентрический курс) И.Н. Пономаревой, В.М. Константинова и др.  (1.2.5.2.3.1-1.2.5.2.3.5)</vt:lpstr>
      <vt:lpstr>Слайд 29</vt:lpstr>
      <vt:lpstr>Слайд 30</vt:lpstr>
      <vt:lpstr>Слайд 31</vt:lpstr>
      <vt:lpstr>Слайд 32</vt:lpstr>
      <vt:lpstr>Слайд 33</vt:lpstr>
      <vt:lpstr>Слайд 34</vt:lpstr>
      <vt:lpstr>РЕКОМЕНДАЦИИ ПО ПЕРЕХОДУ  БИОЛОГИЯ</vt:lpstr>
      <vt:lpstr>УМК по биологии для 10-11 классов (базовый уровень) В.И. Сивоглазова, И.Б. Агафоновой, Е.Т. Захаровой и др.  (1.3.5.6.6.1- 1.3.5.6.6.2)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                НАЛИЧИЕ РАЗНОБРАЗНЫХ ЗАДАНИЙ </vt:lpstr>
      <vt:lpstr>Слайд 53</vt:lpstr>
      <vt:lpstr>Слайд 54</vt:lpstr>
      <vt:lpstr>Активация кода  семинара</vt:lpstr>
      <vt:lpstr>Бесплатный доступ  к 5 любым ЭФУ на платформе</vt:lpstr>
      <vt:lpstr>Слайд 57</vt:lpstr>
      <vt:lpstr>Код активации</vt:lpstr>
    </vt:vector>
  </TitlesOfParts>
  <Company>HP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Vakhidova</dc:creator>
  <cp:lastModifiedBy>User</cp:lastModifiedBy>
  <cp:revision>918</cp:revision>
  <cp:lastPrinted>2019-02-12T18:51:53Z</cp:lastPrinted>
  <dcterms:created xsi:type="dcterms:W3CDTF">2019-01-24T10:53:01Z</dcterms:created>
  <dcterms:modified xsi:type="dcterms:W3CDTF">2019-04-26T03:29:17Z</dcterms:modified>
</cp:coreProperties>
</file>